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</p:sldMasterIdLst>
  <p:notesMasterIdLst>
    <p:notesMasterId r:id="rId14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</p:sldIdLst>
  <p:sldSz cx="12192000" cy="6858000"/>
  <p:notesSz cx="6858000" cy="9144000"/>
  <p:custDataLst>
    <p:tags r:id="rId1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F20B04-BB9D-4A3E-8766-9679602E5DF8}" v="120" dt="2023-05-26T07:37:30.96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microsoft.com/office/2015/10/relationships/revisionInfo" Target="revisionInfo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ra Maderova" userId="724b9e65-d05a-4921-a9f6-fd41b28d3847" providerId="ADAL" clId="{04F20B04-BB9D-4A3E-8766-9679602E5DF8}"/>
    <pc:docChg chg="undo custSel modSld sldOrd modMainMaster replTag">
      <pc:chgData name="Petra Maderova" userId="724b9e65-d05a-4921-a9f6-fd41b28d3847" providerId="ADAL" clId="{04F20B04-BB9D-4A3E-8766-9679602E5DF8}" dt="2023-05-26T07:38:47.119" v="1126" actId="14100"/>
      <pc:docMkLst>
        <pc:docMk/>
      </pc:docMkLst>
      <pc:sldChg chg="ord">
        <pc:chgData name="Petra Maderova" userId="724b9e65-d05a-4921-a9f6-fd41b28d3847" providerId="ADAL" clId="{04F20B04-BB9D-4A3E-8766-9679602E5DF8}" dt="2023-05-20T16:32:42.525" v="603"/>
        <pc:sldMkLst>
          <pc:docMk/>
          <pc:sldMk cId="0" sldId="256"/>
        </pc:sldMkLst>
      </pc:sldChg>
      <pc:sldChg chg="modSp mod">
        <pc:chgData name="Petra Maderova" userId="724b9e65-d05a-4921-a9f6-fd41b28d3847" providerId="ADAL" clId="{04F20B04-BB9D-4A3E-8766-9679602E5DF8}" dt="2023-05-20T16:36:21.547" v="1047" actId="1076"/>
        <pc:sldMkLst>
          <pc:docMk/>
          <pc:sldMk cId="0" sldId="257"/>
        </pc:sldMkLst>
        <pc:spChg chg="mod">
          <ac:chgData name="Petra Maderova" userId="724b9e65-d05a-4921-a9f6-fd41b28d3847" providerId="ADAL" clId="{04F20B04-BB9D-4A3E-8766-9679602E5DF8}" dt="2023-05-20T16:34:30.517" v="978" actId="948"/>
          <ac:spMkLst>
            <pc:docMk/>
            <pc:sldMk cId="0" sldId="257"/>
            <ac:spMk id="153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12:30.030" v="527" actId="255"/>
          <ac:spMkLst>
            <pc:docMk/>
            <pc:sldMk cId="0" sldId="257"/>
            <ac:spMk id="154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12:58.746" v="530" actId="1076"/>
          <ac:spMkLst>
            <pc:docMk/>
            <pc:sldMk cId="0" sldId="257"/>
            <ac:spMk id="156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5:59:36.945" v="3" actId="13926"/>
          <ac:spMkLst>
            <pc:docMk/>
            <pc:sldMk cId="0" sldId="257"/>
            <ac:spMk id="157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618" v="1039"/>
          <ac:graphicFrameMkLst>
            <pc:docMk/>
            <pc:sldMk cId="0" sldId="257"/>
            <ac:graphicFrameMk id="151" creationId="{00000000-0000-0000-0000-000000000000}"/>
          </ac:graphicFrameMkLst>
        </pc:graphicFrameChg>
        <pc:picChg chg="mod">
          <ac:chgData name="Petra Maderova" userId="724b9e65-d05a-4921-a9f6-fd41b28d3847" providerId="ADAL" clId="{04F20B04-BB9D-4A3E-8766-9679602E5DF8}" dt="2023-05-20T16:12:42.961" v="528" actId="1076"/>
          <ac:picMkLst>
            <pc:docMk/>
            <pc:sldMk cId="0" sldId="257"/>
            <ac:picMk id="155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36:21.547" v="1047" actId="1076"/>
          <ac:picMkLst>
            <pc:docMk/>
            <pc:sldMk cId="0" sldId="257"/>
            <ac:picMk id="158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36:11.619" v="1046" actId="1076"/>
          <ac:picMkLst>
            <pc:docMk/>
            <pc:sldMk cId="0" sldId="257"/>
            <ac:picMk id="159" creationId="{00000000-0000-0000-0000-000000000000}"/>
          </ac:picMkLst>
        </pc:picChg>
      </pc:sldChg>
      <pc:sldChg chg="addSp delSp modSp mod">
        <pc:chgData name="Petra Maderova" userId="724b9e65-d05a-4921-a9f6-fd41b28d3847" providerId="ADAL" clId="{04F20B04-BB9D-4A3E-8766-9679602E5DF8}" dt="2023-05-26T07:35:29.930" v="1112" actId="1076"/>
        <pc:sldMkLst>
          <pc:docMk/>
          <pc:sldMk cId="0" sldId="258"/>
        </pc:sldMkLst>
        <pc:spChg chg="add del mod modVis">
          <ac:chgData name="Petra Maderova" userId="724b9e65-d05a-4921-a9f6-fd41b28d3847" providerId="ADAL" clId="{04F20B04-BB9D-4A3E-8766-9679602E5DF8}" dt="2023-05-20T16:03:00.526" v="387"/>
          <ac:spMkLst>
            <pc:docMk/>
            <pc:sldMk cId="0" sldId="258"/>
            <ac:spMk id="2" creationId="{1D20128F-8777-3334-B0FF-D4984BD2F3FD}"/>
          </ac:spMkLst>
        </pc:spChg>
        <pc:spChg chg="add del mod modVis">
          <ac:chgData name="Petra Maderova" userId="724b9e65-d05a-4921-a9f6-fd41b28d3847" providerId="ADAL" clId="{04F20B04-BB9D-4A3E-8766-9679602E5DF8}" dt="2023-05-20T16:33:57.893" v="808"/>
          <ac:spMkLst>
            <pc:docMk/>
            <pc:sldMk cId="0" sldId="258"/>
            <ac:spMk id="3" creationId="{A82C4676-9CBD-9F89-E010-2EBBB5C94427}"/>
          </ac:spMkLst>
        </pc:spChg>
        <pc:spChg chg="add del mod modVis">
          <ac:chgData name="Petra Maderova" userId="724b9e65-d05a-4921-a9f6-fd41b28d3847" providerId="ADAL" clId="{04F20B04-BB9D-4A3E-8766-9679602E5DF8}" dt="2023-05-20T16:34:30.602" v="1029"/>
          <ac:spMkLst>
            <pc:docMk/>
            <pc:sldMk cId="0" sldId="258"/>
            <ac:spMk id="4" creationId="{0C5B47D8-74C4-383E-0F4F-D3AEDD183026}"/>
          </ac:spMkLst>
        </pc:spChg>
        <pc:spChg chg="mod">
          <ac:chgData name="Petra Maderova" userId="724b9e65-d05a-4921-a9f6-fd41b28d3847" providerId="ADAL" clId="{04F20B04-BB9D-4A3E-8766-9679602E5DF8}" dt="2023-05-20T16:34:30.386" v="901" actId="948"/>
          <ac:spMkLst>
            <pc:docMk/>
            <pc:sldMk cId="0" sldId="258"/>
            <ac:spMk id="164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13:40.457" v="533" actId="1076"/>
          <ac:spMkLst>
            <pc:docMk/>
            <pc:sldMk cId="0" sldId="258"/>
            <ac:spMk id="165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6T07:35:14.718" v="1108" actId="1076"/>
          <ac:spMkLst>
            <pc:docMk/>
            <pc:sldMk cId="0" sldId="258"/>
            <ac:spMk id="166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602" v="1031"/>
          <ac:graphicFrameMkLst>
            <pc:docMk/>
            <pc:sldMk cId="0" sldId="258"/>
            <ac:graphicFrameMk id="160" creationId="{00000000-0000-0000-0000-000000000000}"/>
          </ac:graphicFrameMkLst>
        </pc:graphicFrameChg>
        <pc:picChg chg="add mod">
          <ac:chgData name="Petra Maderova" userId="724b9e65-d05a-4921-a9f6-fd41b28d3847" providerId="ADAL" clId="{04F20B04-BB9D-4A3E-8766-9679602E5DF8}" dt="2023-05-26T07:35:29.930" v="1112" actId="1076"/>
          <ac:picMkLst>
            <pc:docMk/>
            <pc:sldMk cId="0" sldId="258"/>
            <ac:picMk id="3" creationId="{3E0346A7-2887-82F3-D72A-6EF9DB598F32}"/>
          </ac:picMkLst>
        </pc:picChg>
        <pc:picChg chg="add mod">
          <ac:chgData name="Petra Maderova" userId="724b9e65-d05a-4921-a9f6-fd41b28d3847" providerId="ADAL" clId="{04F20B04-BB9D-4A3E-8766-9679602E5DF8}" dt="2023-05-26T07:35:27.204" v="1111" actId="1076"/>
          <ac:picMkLst>
            <pc:docMk/>
            <pc:sldMk cId="0" sldId="258"/>
            <ac:picMk id="5" creationId="{ACD1B278-C87C-2D22-FBE7-9CDCE2C2525A}"/>
          </ac:picMkLst>
        </pc:picChg>
      </pc:sldChg>
      <pc:sldChg chg="modSp mod">
        <pc:chgData name="Petra Maderova" userId="724b9e65-d05a-4921-a9f6-fd41b28d3847" providerId="ADAL" clId="{04F20B04-BB9D-4A3E-8766-9679602E5DF8}" dt="2023-05-20T16:34:30.602" v="1037"/>
        <pc:sldMkLst>
          <pc:docMk/>
          <pc:sldMk cId="0" sldId="259"/>
        </pc:sldMkLst>
        <pc:spChg chg="mod">
          <ac:chgData name="Petra Maderova" userId="724b9e65-d05a-4921-a9f6-fd41b28d3847" providerId="ADAL" clId="{04F20B04-BB9D-4A3E-8766-9679602E5DF8}" dt="2023-05-20T16:34:30.517" v="977" actId="948"/>
          <ac:spMkLst>
            <pc:docMk/>
            <pc:sldMk cId="0" sldId="259"/>
            <ac:spMk id="170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14:28.136" v="539" actId="255"/>
          <ac:spMkLst>
            <pc:docMk/>
            <pc:sldMk cId="0" sldId="259"/>
            <ac:spMk id="171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602" v="1037"/>
          <ac:graphicFrameMkLst>
            <pc:docMk/>
            <pc:sldMk cId="0" sldId="259"/>
            <ac:graphicFrameMk id="168" creationId="{00000000-0000-0000-0000-000000000000}"/>
          </ac:graphicFrameMkLst>
        </pc:graphicFrameChg>
      </pc:sldChg>
      <pc:sldChg chg="addSp delSp modSp mod">
        <pc:chgData name="Petra Maderova" userId="724b9e65-d05a-4921-a9f6-fd41b28d3847" providerId="ADAL" clId="{04F20B04-BB9D-4A3E-8766-9679602E5DF8}" dt="2023-05-26T07:38:47.119" v="1126" actId="14100"/>
        <pc:sldMkLst>
          <pc:docMk/>
          <pc:sldMk cId="0" sldId="260"/>
        </pc:sldMkLst>
        <pc:spChg chg="add del mod modVis">
          <ac:chgData name="Petra Maderova" userId="724b9e65-d05a-4921-a9f6-fd41b28d3847" providerId="ADAL" clId="{04F20B04-BB9D-4A3E-8766-9679602E5DF8}" dt="2023-05-20T16:00:09.427" v="173"/>
          <ac:spMkLst>
            <pc:docMk/>
            <pc:sldMk cId="0" sldId="260"/>
            <ac:spMk id="2" creationId="{E2435649-2473-D975-14B5-02FCA9AECB29}"/>
          </ac:spMkLst>
        </pc:spChg>
        <pc:spChg chg="add del mod modVis">
          <ac:chgData name="Petra Maderova" userId="724b9e65-d05a-4921-a9f6-fd41b28d3847" providerId="ADAL" clId="{04F20B04-BB9D-4A3E-8766-9679602E5DF8}" dt="2023-05-20T16:03:36.270" v="483"/>
          <ac:spMkLst>
            <pc:docMk/>
            <pc:sldMk cId="0" sldId="260"/>
            <ac:spMk id="3" creationId="{BB6B204D-7285-F67A-F320-90D5EEE61C51}"/>
          </ac:spMkLst>
        </pc:spChg>
        <pc:spChg chg="add del mod modVis">
          <ac:chgData name="Petra Maderova" userId="724b9e65-d05a-4921-a9f6-fd41b28d3847" providerId="ADAL" clId="{04F20B04-BB9D-4A3E-8766-9679602E5DF8}" dt="2023-05-20T16:33:57.909" v="820"/>
          <ac:spMkLst>
            <pc:docMk/>
            <pc:sldMk cId="0" sldId="260"/>
            <ac:spMk id="10" creationId="{78007DE6-AD6B-9151-B482-E47DF5A3361F}"/>
          </ac:spMkLst>
        </pc:spChg>
        <pc:spChg chg="add del mod modVis">
          <ac:chgData name="Petra Maderova" userId="724b9e65-d05a-4921-a9f6-fd41b28d3847" providerId="ADAL" clId="{04F20B04-BB9D-4A3E-8766-9679602E5DF8}" dt="2023-05-20T16:34:30.618" v="1041"/>
          <ac:spMkLst>
            <pc:docMk/>
            <pc:sldMk cId="0" sldId="260"/>
            <ac:spMk id="11" creationId="{CC7B6C08-86FF-472C-4537-F1C202330B6B}"/>
          </ac:spMkLst>
        </pc:spChg>
        <pc:spChg chg="mod">
          <ac:chgData name="Petra Maderova" userId="724b9e65-d05a-4921-a9f6-fd41b28d3847" providerId="ADAL" clId="{04F20B04-BB9D-4A3E-8766-9679602E5DF8}" dt="2023-05-20T16:34:30.524" v="979" actId="948"/>
          <ac:spMkLst>
            <pc:docMk/>
            <pc:sldMk cId="0" sldId="260"/>
            <ac:spMk id="182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37:36.900" v="1055" actId="1076"/>
          <ac:spMkLst>
            <pc:docMk/>
            <pc:sldMk cId="0" sldId="260"/>
            <ac:spMk id="185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38:03.396" v="1057" actId="1076"/>
          <ac:spMkLst>
            <pc:docMk/>
            <pc:sldMk cId="0" sldId="260"/>
            <ac:spMk id="187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38:17.442" v="1058" actId="1076"/>
          <ac:spMkLst>
            <pc:docMk/>
            <pc:sldMk cId="0" sldId="260"/>
            <ac:spMk id="195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37:48.467" v="1056" actId="1076"/>
          <ac:spMkLst>
            <pc:docMk/>
            <pc:sldMk cId="0" sldId="260"/>
            <ac:spMk id="196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38:47.091" v="1061" actId="1076"/>
          <ac:spMkLst>
            <pc:docMk/>
            <pc:sldMk cId="0" sldId="260"/>
            <ac:spMk id="197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6T07:38:31.806" v="1124" actId="20577"/>
          <ac:spMkLst>
            <pc:docMk/>
            <pc:sldMk cId="0" sldId="260"/>
            <ac:spMk id="200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618" v="1043"/>
          <ac:graphicFrameMkLst>
            <pc:docMk/>
            <pc:sldMk cId="0" sldId="260"/>
            <ac:graphicFrameMk id="179" creationId="{00000000-0000-0000-0000-000000000000}"/>
          </ac:graphicFrameMkLst>
        </pc:graphicFrameChg>
        <pc:picChg chg="add mod">
          <ac:chgData name="Petra Maderova" userId="724b9e65-d05a-4921-a9f6-fd41b28d3847" providerId="ADAL" clId="{04F20B04-BB9D-4A3E-8766-9679602E5DF8}" dt="2023-05-26T07:38:47.119" v="1126" actId="14100"/>
          <ac:picMkLst>
            <pc:docMk/>
            <pc:sldMk cId="0" sldId="260"/>
            <ac:picMk id="3" creationId="{AF342362-DEB6-3934-1B36-08EA4EF6E16F}"/>
          </ac:picMkLst>
        </pc:picChg>
        <pc:picChg chg="add del mod">
          <ac:chgData name="Petra Maderova" userId="724b9e65-d05a-4921-a9f6-fd41b28d3847" providerId="ADAL" clId="{04F20B04-BB9D-4A3E-8766-9679602E5DF8}" dt="2023-05-20T16:04:32.136" v="491" actId="478"/>
          <ac:picMkLst>
            <pc:docMk/>
            <pc:sldMk cId="0" sldId="260"/>
            <ac:picMk id="5" creationId="{C94404BC-6491-F1E4-3F19-8751589B1517}"/>
          </ac:picMkLst>
        </pc:picChg>
        <pc:picChg chg="add mod">
          <ac:chgData name="Petra Maderova" userId="724b9e65-d05a-4921-a9f6-fd41b28d3847" providerId="ADAL" clId="{04F20B04-BB9D-4A3E-8766-9679602E5DF8}" dt="2023-05-20T16:38:26.603" v="1059" actId="1076"/>
          <ac:picMkLst>
            <pc:docMk/>
            <pc:sldMk cId="0" sldId="260"/>
            <ac:picMk id="7" creationId="{8F544CA3-6510-B079-F30F-FB4E52EEBF4B}"/>
          </ac:picMkLst>
        </pc:picChg>
        <pc:picChg chg="add mod">
          <ac:chgData name="Petra Maderova" userId="724b9e65-d05a-4921-a9f6-fd41b28d3847" providerId="ADAL" clId="{04F20B04-BB9D-4A3E-8766-9679602E5DF8}" dt="2023-05-20T16:37:20.996" v="1054" actId="1076"/>
          <ac:picMkLst>
            <pc:docMk/>
            <pc:sldMk cId="0" sldId="260"/>
            <ac:picMk id="9" creationId="{6CC706CA-A8B5-62A1-5EE6-8D73B0E76CB4}"/>
          </ac:picMkLst>
        </pc:picChg>
        <pc:picChg chg="mod">
          <ac:chgData name="Petra Maderova" userId="724b9e65-d05a-4921-a9f6-fd41b28d3847" providerId="ADAL" clId="{04F20B04-BB9D-4A3E-8766-9679602E5DF8}" dt="2023-05-20T16:36:50.532" v="1048" actId="1076"/>
          <ac:picMkLst>
            <pc:docMk/>
            <pc:sldMk cId="0" sldId="260"/>
            <ac:picMk id="189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37:11.835" v="1051" actId="1076"/>
          <ac:picMkLst>
            <pc:docMk/>
            <pc:sldMk cId="0" sldId="260"/>
            <ac:picMk id="190" creationId="{00000000-0000-0000-0000-000000000000}"/>
          </ac:picMkLst>
        </pc:picChg>
      </pc:sldChg>
      <pc:sldChg chg="addSp delSp modSp mod">
        <pc:chgData name="Petra Maderova" userId="724b9e65-d05a-4921-a9f6-fd41b28d3847" providerId="ADAL" clId="{04F20B04-BB9D-4A3E-8766-9679602E5DF8}" dt="2023-05-20T16:34:30.586" v="1023"/>
        <pc:sldMkLst>
          <pc:docMk/>
          <pc:sldMk cId="0" sldId="261"/>
        </pc:sldMkLst>
        <pc:spChg chg="add del mod modVis">
          <ac:chgData name="Petra Maderova" userId="724b9e65-d05a-4921-a9f6-fd41b28d3847" providerId="ADAL" clId="{04F20B04-BB9D-4A3E-8766-9679602E5DF8}" dt="2023-05-20T16:03:00.526" v="383"/>
          <ac:spMkLst>
            <pc:docMk/>
            <pc:sldMk cId="0" sldId="261"/>
            <ac:spMk id="2" creationId="{081F64FB-2E47-1982-CEA2-DBC1BE679970}"/>
          </ac:spMkLst>
        </pc:spChg>
        <pc:spChg chg="add del mod modVis">
          <ac:chgData name="Petra Maderova" userId="724b9e65-d05a-4921-a9f6-fd41b28d3847" providerId="ADAL" clId="{04F20B04-BB9D-4A3E-8766-9679602E5DF8}" dt="2023-05-20T16:33:57.893" v="800"/>
          <ac:spMkLst>
            <pc:docMk/>
            <pc:sldMk cId="0" sldId="261"/>
            <ac:spMk id="3" creationId="{11EABB5E-42D3-EE38-C0ED-C22B52836546}"/>
          </ac:spMkLst>
        </pc:spChg>
        <pc:spChg chg="add del mod modVis">
          <ac:chgData name="Petra Maderova" userId="724b9e65-d05a-4921-a9f6-fd41b28d3847" providerId="ADAL" clId="{04F20B04-BB9D-4A3E-8766-9679602E5DF8}" dt="2023-05-20T16:34:30.586" v="1021"/>
          <ac:spMkLst>
            <pc:docMk/>
            <pc:sldMk cId="0" sldId="261"/>
            <ac:spMk id="4" creationId="{4D917AE0-60CB-9E89-B872-EBEF975DC7F9}"/>
          </ac:spMkLst>
        </pc:spChg>
        <pc:spChg chg="mod">
          <ac:chgData name="Petra Maderova" userId="724b9e65-d05a-4921-a9f6-fd41b28d3847" providerId="ADAL" clId="{04F20B04-BB9D-4A3E-8766-9679602E5DF8}" dt="2023-05-20T16:34:30.270" v="825" actId="948"/>
          <ac:spMkLst>
            <pc:docMk/>
            <pc:sldMk cId="0" sldId="261"/>
            <ac:spMk id="204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15:09.129" v="543" actId="14100"/>
          <ac:spMkLst>
            <pc:docMk/>
            <pc:sldMk cId="0" sldId="261"/>
            <ac:spMk id="205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21:21.775" v="556" actId="1076"/>
          <ac:spMkLst>
            <pc:docMk/>
            <pc:sldMk cId="0" sldId="261"/>
            <ac:spMk id="209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21:07.678" v="554" actId="1076"/>
          <ac:spMkLst>
            <pc:docMk/>
            <pc:sldMk cId="0" sldId="261"/>
            <ac:spMk id="210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20:54.668" v="552" actId="1076"/>
          <ac:spMkLst>
            <pc:docMk/>
            <pc:sldMk cId="0" sldId="261"/>
            <ac:spMk id="211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586" v="1023"/>
          <ac:graphicFrameMkLst>
            <pc:docMk/>
            <pc:sldMk cId="0" sldId="261"/>
            <ac:graphicFrameMk id="202" creationId="{00000000-0000-0000-0000-000000000000}"/>
          </ac:graphicFrameMkLst>
        </pc:graphicFrameChg>
        <pc:picChg chg="mod">
          <ac:chgData name="Petra Maderova" userId="724b9e65-d05a-4921-a9f6-fd41b28d3847" providerId="ADAL" clId="{04F20B04-BB9D-4A3E-8766-9679602E5DF8}" dt="2023-05-20T16:21:16.453" v="555" actId="1076"/>
          <ac:picMkLst>
            <pc:docMk/>
            <pc:sldMk cId="0" sldId="261"/>
            <ac:picMk id="206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0:58.892" v="553" actId="1076"/>
          <ac:picMkLst>
            <pc:docMk/>
            <pc:sldMk cId="0" sldId="261"/>
            <ac:picMk id="207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0:47.060" v="551" actId="1076"/>
          <ac:picMkLst>
            <pc:docMk/>
            <pc:sldMk cId="0" sldId="261"/>
            <ac:picMk id="208" creationId="{00000000-0000-0000-0000-000000000000}"/>
          </ac:picMkLst>
        </pc:picChg>
      </pc:sldChg>
      <pc:sldChg chg="modSp mod">
        <pc:chgData name="Petra Maderova" userId="724b9e65-d05a-4921-a9f6-fd41b28d3847" providerId="ADAL" clId="{04F20B04-BB9D-4A3E-8766-9679602E5DF8}" dt="2023-05-20T16:26:40.894" v="601" actId="1076"/>
        <pc:sldMkLst>
          <pc:docMk/>
          <pc:sldMk cId="0" sldId="262"/>
        </pc:sldMkLst>
        <pc:spChg chg="mod">
          <ac:chgData name="Petra Maderova" userId="724b9e65-d05a-4921-a9f6-fd41b28d3847" providerId="ADAL" clId="{04F20B04-BB9D-4A3E-8766-9679602E5DF8}" dt="2023-05-20T16:24:51.269" v="583" actId="1076"/>
          <ac:spMkLst>
            <pc:docMk/>
            <pc:sldMk cId="0" sldId="262"/>
            <ac:spMk id="229" creationId="{00000000-0000-0000-0000-000000000000}"/>
          </ac:spMkLst>
        </pc:spChg>
        <pc:picChg chg="mod">
          <ac:chgData name="Petra Maderova" userId="724b9e65-d05a-4921-a9f6-fd41b28d3847" providerId="ADAL" clId="{04F20B04-BB9D-4A3E-8766-9679602E5DF8}" dt="2023-05-20T16:26:04.132" v="594" actId="1076"/>
          <ac:picMkLst>
            <pc:docMk/>
            <pc:sldMk cId="0" sldId="262"/>
            <ac:picMk id="214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5:30.036" v="589" actId="1076"/>
          <ac:picMkLst>
            <pc:docMk/>
            <pc:sldMk cId="0" sldId="262"/>
            <ac:picMk id="215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6:28.916" v="598" actId="14100"/>
          <ac:picMkLst>
            <pc:docMk/>
            <pc:sldMk cId="0" sldId="262"/>
            <ac:picMk id="216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6:07.660" v="595" actId="1076"/>
          <ac:picMkLst>
            <pc:docMk/>
            <pc:sldMk cId="0" sldId="262"/>
            <ac:picMk id="217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5:06.998" v="585" actId="1076"/>
          <ac:picMkLst>
            <pc:docMk/>
            <pc:sldMk cId="0" sldId="262"/>
            <ac:picMk id="218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4:44.781" v="582" actId="1076"/>
          <ac:picMkLst>
            <pc:docMk/>
            <pc:sldMk cId="0" sldId="262"/>
            <ac:picMk id="221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3:28.317" v="571" actId="1076"/>
          <ac:picMkLst>
            <pc:docMk/>
            <pc:sldMk cId="0" sldId="262"/>
            <ac:picMk id="222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5:12.597" v="587" actId="1076"/>
          <ac:picMkLst>
            <pc:docMk/>
            <pc:sldMk cId="0" sldId="262"/>
            <ac:picMk id="223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5:43.469" v="592" actId="14100"/>
          <ac:picMkLst>
            <pc:docMk/>
            <pc:sldMk cId="0" sldId="262"/>
            <ac:picMk id="225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6:40.894" v="601" actId="1076"/>
          <ac:picMkLst>
            <pc:docMk/>
            <pc:sldMk cId="0" sldId="262"/>
            <ac:picMk id="226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5:19.373" v="588" actId="1076"/>
          <ac:picMkLst>
            <pc:docMk/>
            <pc:sldMk cId="0" sldId="262"/>
            <ac:picMk id="227" creationId="{00000000-0000-0000-0000-000000000000}"/>
          </ac:picMkLst>
        </pc:picChg>
      </pc:sldChg>
      <pc:sldChg chg="modSp mod">
        <pc:chgData name="Petra Maderova" userId="724b9e65-d05a-4921-a9f6-fd41b28d3847" providerId="ADAL" clId="{04F20B04-BB9D-4A3E-8766-9679602E5DF8}" dt="2023-05-20T16:34:30.624" v="1045"/>
        <pc:sldMkLst>
          <pc:docMk/>
          <pc:sldMk cId="0" sldId="263"/>
        </pc:sldMkLst>
        <pc:spChg chg="mod">
          <ac:chgData name="Petra Maderova" userId="724b9e65-d05a-4921-a9f6-fd41b28d3847" providerId="ADAL" clId="{04F20B04-BB9D-4A3E-8766-9679602E5DF8}" dt="2023-05-20T16:34:30.586" v="1017" actId="948"/>
          <ac:spMkLst>
            <pc:docMk/>
            <pc:sldMk cId="0" sldId="263"/>
            <ac:spMk id="232" creationId="{00000000-0000-0000-0000-000000000000}"/>
          </ac:spMkLst>
        </pc:spChg>
        <pc:spChg chg="mod">
          <ac:chgData name="Petra Maderova" userId="724b9e65-d05a-4921-a9f6-fd41b28d3847" providerId="ADAL" clId="{04F20B04-BB9D-4A3E-8766-9679602E5DF8}" dt="2023-05-20T16:22:26.196" v="569" actId="20577"/>
          <ac:spMkLst>
            <pc:docMk/>
            <pc:sldMk cId="0" sldId="263"/>
            <ac:spMk id="233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624" v="1045"/>
          <ac:graphicFrameMkLst>
            <pc:docMk/>
            <pc:sldMk cId="0" sldId="263"/>
            <ac:graphicFrameMk id="230" creationId="{00000000-0000-0000-0000-000000000000}"/>
          </ac:graphicFrameMkLst>
        </pc:graphicFrameChg>
        <pc:picChg chg="mod">
          <ac:chgData name="Petra Maderova" userId="724b9e65-d05a-4921-a9f6-fd41b28d3847" providerId="ADAL" clId="{04F20B04-BB9D-4A3E-8766-9679602E5DF8}" dt="2023-05-20T16:22:14.109" v="562" actId="1076"/>
          <ac:picMkLst>
            <pc:docMk/>
            <pc:sldMk cId="0" sldId="263"/>
            <ac:picMk id="234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0T16:22:07.685" v="560" actId="1076"/>
          <ac:picMkLst>
            <pc:docMk/>
            <pc:sldMk cId="0" sldId="263"/>
            <ac:picMk id="235" creationId="{00000000-0000-0000-0000-000000000000}"/>
          </ac:picMkLst>
        </pc:picChg>
      </pc:sldChg>
      <pc:sldChg chg="addSp delSp modSp mod modNotes">
        <pc:chgData name="Petra Maderova" userId="724b9e65-d05a-4921-a9f6-fd41b28d3847" providerId="ADAL" clId="{04F20B04-BB9D-4A3E-8766-9679602E5DF8}" dt="2023-05-24T08:05:03.644" v="1095" actId="1076"/>
        <pc:sldMkLst>
          <pc:docMk/>
          <pc:sldMk cId="0" sldId="264"/>
        </pc:sldMkLst>
        <pc:spChg chg="add del mod modVis">
          <ac:chgData name="Petra Maderova" userId="724b9e65-d05a-4921-a9f6-fd41b28d3847" providerId="ADAL" clId="{04F20B04-BB9D-4A3E-8766-9679602E5DF8}" dt="2023-05-20T16:02:18.401" v="257"/>
          <ac:spMkLst>
            <pc:docMk/>
            <pc:sldMk cId="0" sldId="264"/>
            <ac:spMk id="2" creationId="{0C4E723E-4DFB-8FF3-E05E-5CA1916C1363}"/>
          </ac:spMkLst>
        </pc:spChg>
        <pc:spChg chg="add del mod modVis">
          <ac:chgData name="Petra Maderova" userId="724b9e65-d05a-4921-a9f6-fd41b28d3847" providerId="ADAL" clId="{04F20B04-BB9D-4A3E-8766-9679602E5DF8}" dt="2023-05-20T16:03:00.526" v="391"/>
          <ac:spMkLst>
            <pc:docMk/>
            <pc:sldMk cId="0" sldId="264"/>
            <ac:spMk id="3" creationId="{4E685B71-FCDE-6A60-3284-9D9A8C2A8A96}"/>
          </ac:spMkLst>
        </pc:spChg>
        <pc:spChg chg="add del mod modVis">
          <ac:chgData name="Petra Maderova" userId="724b9e65-d05a-4921-a9f6-fd41b28d3847" providerId="ADAL" clId="{04F20B04-BB9D-4A3E-8766-9679602E5DF8}" dt="2023-05-20T16:33:57.893" v="812"/>
          <ac:spMkLst>
            <pc:docMk/>
            <pc:sldMk cId="0" sldId="264"/>
            <ac:spMk id="8" creationId="{C38FBB50-D7D5-A30F-6D67-C283C0725944}"/>
          </ac:spMkLst>
        </pc:spChg>
        <pc:spChg chg="add del mod modVis">
          <ac:chgData name="Petra Maderova" userId="724b9e65-d05a-4921-a9f6-fd41b28d3847" providerId="ADAL" clId="{04F20B04-BB9D-4A3E-8766-9679602E5DF8}" dt="2023-05-20T16:34:30.602" v="1033"/>
          <ac:spMkLst>
            <pc:docMk/>
            <pc:sldMk cId="0" sldId="264"/>
            <ac:spMk id="9" creationId="{38722B80-E26D-1F5B-AD19-070BF7A0D3F9}"/>
          </ac:spMkLst>
        </pc:spChg>
        <pc:spChg chg="mod">
          <ac:chgData name="Petra Maderova" userId="724b9e65-d05a-4921-a9f6-fd41b28d3847" providerId="ADAL" clId="{04F20B04-BB9D-4A3E-8766-9679602E5DF8}" dt="2023-05-20T16:34:30.455" v="939" actId="948"/>
          <ac:spMkLst>
            <pc:docMk/>
            <pc:sldMk cId="0" sldId="264"/>
            <ac:spMk id="238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602" v="1035"/>
          <ac:graphicFrameMkLst>
            <pc:docMk/>
            <pc:sldMk cId="0" sldId="264"/>
            <ac:graphicFrameMk id="236" creationId="{00000000-0000-0000-0000-000000000000}"/>
          </ac:graphicFrameMkLst>
        </pc:graphicFrameChg>
        <pc:picChg chg="add mod">
          <ac:chgData name="Petra Maderova" userId="724b9e65-d05a-4921-a9f6-fd41b28d3847" providerId="ADAL" clId="{04F20B04-BB9D-4A3E-8766-9679602E5DF8}" dt="2023-05-24T08:03:29.882" v="1080" actId="14100"/>
          <ac:picMkLst>
            <pc:docMk/>
            <pc:sldMk cId="0" sldId="264"/>
            <ac:picMk id="3" creationId="{2C3BABDC-0933-25AE-C836-569CD169D80C}"/>
          </ac:picMkLst>
        </pc:picChg>
        <pc:picChg chg="add mod">
          <ac:chgData name="Petra Maderova" userId="724b9e65-d05a-4921-a9f6-fd41b28d3847" providerId="ADAL" clId="{04F20B04-BB9D-4A3E-8766-9679602E5DF8}" dt="2023-05-20T16:11:00.082" v="518" actId="1076"/>
          <ac:picMkLst>
            <pc:docMk/>
            <pc:sldMk cId="0" sldId="264"/>
            <ac:picMk id="5" creationId="{33C39493-4604-4A7A-DEFD-3DD637D568C5}"/>
          </ac:picMkLst>
        </pc:picChg>
        <pc:picChg chg="add mod">
          <ac:chgData name="Petra Maderova" userId="724b9e65-d05a-4921-a9f6-fd41b28d3847" providerId="ADAL" clId="{04F20B04-BB9D-4A3E-8766-9679602E5DF8}" dt="2023-05-24T08:04:52.955" v="1093" actId="1076"/>
          <ac:picMkLst>
            <pc:docMk/>
            <pc:sldMk cId="0" sldId="264"/>
            <ac:picMk id="7" creationId="{4BC6C61A-9742-AE8E-706F-6DB438445393}"/>
          </ac:picMkLst>
        </pc:picChg>
        <pc:picChg chg="add mod">
          <ac:chgData name="Petra Maderova" userId="724b9e65-d05a-4921-a9f6-fd41b28d3847" providerId="ADAL" clId="{04F20B04-BB9D-4A3E-8766-9679602E5DF8}" dt="2023-05-20T16:44:01.306" v="1070" actId="1076"/>
          <ac:picMkLst>
            <pc:docMk/>
            <pc:sldMk cId="0" sldId="264"/>
            <ac:picMk id="11" creationId="{FF114DA5-AD9A-ADFB-F2D3-67CA4E1BA9B0}"/>
          </ac:picMkLst>
        </pc:picChg>
        <pc:picChg chg="mod">
          <ac:chgData name="Petra Maderova" userId="724b9e65-d05a-4921-a9f6-fd41b28d3847" providerId="ADAL" clId="{04F20B04-BB9D-4A3E-8766-9679602E5DF8}" dt="2023-05-24T08:03:15.097" v="1077" actId="1076"/>
          <ac:picMkLst>
            <pc:docMk/>
            <pc:sldMk cId="0" sldId="264"/>
            <ac:picMk id="239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4T08:04:57.027" v="1094" actId="1076"/>
          <ac:picMkLst>
            <pc:docMk/>
            <pc:sldMk cId="0" sldId="264"/>
            <ac:picMk id="243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4T08:05:03.644" v="1095" actId="1076"/>
          <ac:picMkLst>
            <pc:docMk/>
            <pc:sldMk cId="0" sldId="264"/>
            <ac:picMk id="245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4T08:04:47.860" v="1091" actId="1076"/>
          <ac:picMkLst>
            <pc:docMk/>
            <pc:sldMk cId="0" sldId="264"/>
            <ac:picMk id="246" creationId="{00000000-0000-0000-0000-000000000000}"/>
          </ac:picMkLst>
        </pc:picChg>
        <pc:picChg chg="mod">
          <ac:chgData name="Petra Maderova" userId="724b9e65-d05a-4921-a9f6-fd41b28d3847" providerId="ADAL" clId="{04F20B04-BB9D-4A3E-8766-9679602E5DF8}" dt="2023-05-24T08:04:03.866" v="1085" actId="14100"/>
          <ac:picMkLst>
            <pc:docMk/>
            <pc:sldMk cId="0" sldId="264"/>
            <ac:picMk id="247" creationId="{00000000-0000-0000-0000-000000000000}"/>
          </ac:picMkLst>
        </pc:picChg>
      </pc:sldChg>
      <pc:sldChg chg="addSp delSp modSp mod">
        <pc:chgData name="Petra Maderova" userId="724b9e65-d05a-4921-a9f6-fd41b28d3847" providerId="ADAL" clId="{04F20B04-BB9D-4A3E-8766-9679602E5DF8}" dt="2023-05-20T16:34:30.602" v="1027"/>
        <pc:sldMkLst>
          <pc:docMk/>
          <pc:sldMk cId="0" sldId="265"/>
        </pc:sldMkLst>
        <pc:spChg chg="add del mod modVis">
          <ac:chgData name="Petra Maderova" userId="724b9e65-d05a-4921-a9f6-fd41b28d3847" providerId="ADAL" clId="{04F20B04-BB9D-4A3E-8766-9679602E5DF8}" dt="2023-05-20T16:03:36.270" v="479"/>
          <ac:spMkLst>
            <pc:docMk/>
            <pc:sldMk cId="0" sldId="265"/>
            <ac:spMk id="2" creationId="{123C8BCD-86FB-444F-05A9-0AF667AA0448}"/>
          </ac:spMkLst>
        </pc:spChg>
        <pc:spChg chg="add del mod modVis">
          <ac:chgData name="Petra Maderova" userId="724b9e65-d05a-4921-a9f6-fd41b28d3847" providerId="ADAL" clId="{04F20B04-BB9D-4A3E-8766-9679602E5DF8}" dt="2023-05-20T16:33:57.893" v="804"/>
          <ac:spMkLst>
            <pc:docMk/>
            <pc:sldMk cId="0" sldId="265"/>
            <ac:spMk id="3" creationId="{77DE2317-6599-BE80-BBF2-8333AFA2BAE6}"/>
          </ac:spMkLst>
        </pc:spChg>
        <pc:spChg chg="add del mod modVis">
          <ac:chgData name="Petra Maderova" userId="724b9e65-d05a-4921-a9f6-fd41b28d3847" providerId="ADAL" clId="{04F20B04-BB9D-4A3E-8766-9679602E5DF8}" dt="2023-05-20T16:34:30.586" v="1025"/>
          <ac:spMkLst>
            <pc:docMk/>
            <pc:sldMk cId="0" sldId="265"/>
            <ac:spMk id="4" creationId="{1505315B-A4BF-5453-62DB-D8D5A3019700}"/>
          </ac:spMkLst>
        </pc:spChg>
        <pc:spChg chg="mod">
          <ac:chgData name="Petra Maderova" userId="724b9e65-d05a-4921-a9f6-fd41b28d3847" providerId="ADAL" clId="{04F20B04-BB9D-4A3E-8766-9679602E5DF8}" dt="2023-05-20T16:34:30.339" v="863" actId="948"/>
          <ac:spMkLst>
            <pc:docMk/>
            <pc:sldMk cId="0" sldId="265"/>
            <ac:spMk id="253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34:30.602" v="1027"/>
          <ac:graphicFrameMkLst>
            <pc:docMk/>
            <pc:sldMk cId="0" sldId="265"/>
            <ac:graphicFrameMk id="251" creationId="{00000000-0000-0000-0000-000000000000}"/>
          </ac:graphicFrameMkLst>
        </pc:graphicFrameChg>
      </pc:sldChg>
      <pc:sldMasterChg chg="addSp delSp modSp mod">
        <pc:chgData name="Petra Maderova" userId="724b9e65-d05a-4921-a9f6-fd41b28d3847" providerId="ADAL" clId="{04F20B04-BB9D-4A3E-8766-9679602E5DF8}" dt="2023-05-20T16:00:09.458" v="179"/>
        <pc:sldMasterMkLst>
          <pc:docMk/>
          <pc:sldMasterMk cId="0" sldId="2147483648"/>
        </pc:sldMasterMkLst>
        <pc:spChg chg="mod">
          <ac:chgData name="Petra Maderova" userId="724b9e65-d05a-4921-a9f6-fd41b28d3847" providerId="ADAL" clId="{04F20B04-BB9D-4A3E-8766-9679602E5DF8}" dt="2023-05-20T16:00:09.237" v="56" actId="948"/>
          <ac:spMkLst>
            <pc:docMk/>
            <pc:sldMasterMk cId="0" sldId="2147483648"/>
            <ac:spMk id="8" creationId="{00000000-0000-0000-0000-000000000000}"/>
          </ac:spMkLst>
        </pc:spChg>
        <pc:spChg chg="add del mod modVis">
          <ac:chgData name="Petra Maderova" userId="724b9e65-d05a-4921-a9f6-fd41b28d3847" providerId="ADAL" clId="{04F20B04-BB9D-4A3E-8766-9679602E5DF8}" dt="2023-05-20T16:00:09.458" v="177"/>
          <ac:spMkLst>
            <pc:docMk/>
            <pc:sldMasterMk cId="0" sldId="2147483648"/>
            <ac:spMk id="11" creationId="{A9B0FB06-A8C5-22E8-9D6F-354DD7489D0B}"/>
          </ac:spMkLst>
        </pc:spChg>
        <pc:graphicFrameChg chg="mod modVis">
          <ac:chgData name="Petra Maderova" userId="724b9e65-d05a-4921-a9f6-fd41b28d3847" providerId="ADAL" clId="{04F20B04-BB9D-4A3E-8766-9679602E5DF8}" dt="2023-05-20T16:00:09.458" v="179"/>
          <ac:graphicFrameMkLst>
            <pc:docMk/>
            <pc:sldMasterMk cId="0" sldId="2147483648"/>
            <ac:graphicFrameMk id="10" creationId="{00000000-0000-0000-0000-000000000000}"/>
          </ac:graphicFrameMkLst>
        </pc:graphicFrameChg>
      </pc:sldMasterChg>
      <pc:sldMasterChg chg="addSp delSp modSp mod">
        <pc:chgData name="Petra Maderova" userId="724b9e65-d05a-4921-a9f6-fd41b28d3847" providerId="ADAL" clId="{04F20B04-BB9D-4A3E-8766-9679602E5DF8}" dt="2023-05-20T16:00:09.458" v="183"/>
        <pc:sldMasterMkLst>
          <pc:docMk/>
          <pc:sldMasterMk cId="0" sldId="2147483661"/>
        </pc:sldMasterMkLst>
        <pc:spChg chg="add del mod modVis">
          <ac:chgData name="Petra Maderova" userId="724b9e65-d05a-4921-a9f6-fd41b28d3847" providerId="ADAL" clId="{04F20B04-BB9D-4A3E-8766-9679602E5DF8}" dt="2023-05-20T16:00:09.458" v="181"/>
          <ac:spMkLst>
            <pc:docMk/>
            <pc:sldMasterMk cId="0" sldId="2147483661"/>
            <ac:spMk id="2" creationId="{384AF32C-0DB0-1076-4C89-ED3FD58098FE}"/>
          </ac:spMkLst>
        </pc:spChg>
        <pc:spChg chg="mod">
          <ac:chgData name="Petra Maderova" userId="724b9e65-d05a-4921-a9f6-fd41b28d3847" providerId="ADAL" clId="{04F20B04-BB9D-4A3E-8766-9679602E5DF8}" dt="2023-05-20T16:00:09.286" v="94" actId="948"/>
          <ac:spMkLst>
            <pc:docMk/>
            <pc:sldMasterMk cId="0" sldId="2147483661"/>
            <ac:spMk id="53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00:09.458" v="183"/>
          <ac:graphicFrameMkLst>
            <pc:docMk/>
            <pc:sldMasterMk cId="0" sldId="2147483661"/>
            <ac:graphicFrameMk id="47" creationId="{00000000-0000-0000-0000-000000000000}"/>
          </ac:graphicFrameMkLst>
        </pc:graphicFrameChg>
      </pc:sldMasterChg>
      <pc:sldMasterChg chg="addSp delSp modSp mod">
        <pc:chgData name="Petra Maderova" userId="724b9e65-d05a-4921-a9f6-fd41b28d3847" providerId="ADAL" clId="{04F20B04-BB9D-4A3E-8766-9679602E5DF8}" dt="2023-05-20T16:00:09.458" v="187"/>
        <pc:sldMasterMkLst>
          <pc:docMk/>
          <pc:sldMasterMk cId="0" sldId="2147483674"/>
        </pc:sldMasterMkLst>
        <pc:spChg chg="add del mod modVis">
          <ac:chgData name="Petra Maderova" userId="724b9e65-d05a-4921-a9f6-fd41b28d3847" providerId="ADAL" clId="{04F20B04-BB9D-4A3E-8766-9679602E5DF8}" dt="2023-05-20T16:00:09.458" v="185"/>
          <ac:spMkLst>
            <pc:docMk/>
            <pc:sldMasterMk cId="0" sldId="2147483674"/>
            <ac:spMk id="2" creationId="{6B1F4270-427F-EF32-2EB9-6961219FE819}"/>
          </ac:spMkLst>
        </pc:spChg>
        <pc:spChg chg="mod">
          <ac:chgData name="Petra Maderova" userId="724b9e65-d05a-4921-a9f6-fd41b28d3847" providerId="ADAL" clId="{04F20B04-BB9D-4A3E-8766-9679602E5DF8}" dt="2023-05-20T16:00:09.333" v="132" actId="948"/>
          <ac:spMkLst>
            <pc:docMk/>
            <pc:sldMasterMk cId="0" sldId="2147483674"/>
            <ac:spMk id="101" creationId="{00000000-0000-0000-0000-000000000000}"/>
          </ac:spMkLst>
        </pc:spChg>
        <pc:graphicFrameChg chg="mod modVis">
          <ac:chgData name="Petra Maderova" userId="724b9e65-d05a-4921-a9f6-fd41b28d3847" providerId="ADAL" clId="{04F20B04-BB9D-4A3E-8766-9679602E5DF8}" dt="2023-05-20T16:00:09.458" v="187"/>
          <ac:graphicFrameMkLst>
            <pc:docMk/>
            <pc:sldMasterMk cId="0" sldId="2147483674"/>
            <ac:graphicFrameMk id="95" creationId="{00000000-0000-0000-0000-000000000000}"/>
          </ac:graphicFrameMkLst>
        </pc:graphicFrame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en-US" sz="1800" b="0" strike="noStrike" spc="-1">
                <a:solidFill>
                  <a:srgbClr val="171616"/>
                </a:solidFill>
                <a:latin typeface="Trebuchet MS"/>
              </a:rPr>
              <a:t>Klikněte pro přesun snímku</a:t>
            </a:r>
          </a:p>
        </p:txBody>
      </p:sp>
      <p:sp>
        <p:nvSpPr>
          <p:cNvPr id="143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0">
              <a:buNone/>
            </a:pPr>
            <a:r>
              <a:rPr lang="cs-CZ" sz="2000" b="0" strike="noStrike" spc="-1">
                <a:solidFill>
                  <a:srgbClr val="000000"/>
                </a:solidFill>
                <a:latin typeface="Arial"/>
              </a:rPr>
              <a:t>Klikněte pro úpravu formátu komentářů</a:t>
            </a:r>
          </a:p>
        </p:txBody>
      </p:sp>
      <p:sp>
        <p:nvSpPr>
          <p:cNvPr id="144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>
              <a:buNone/>
            </a:pPr>
            <a:r>
              <a:rPr lang="cs-CZ" sz="1400" b="0" strike="noStrike" spc="-1">
                <a:solidFill>
                  <a:srgbClr val="000000"/>
                </a:solidFill>
                <a:latin typeface="Times New Roman"/>
              </a:rPr>
              <a:t>&lt;záhlaví&gt;</a:t>
            </a:r>
          </a:p>
        </p:txBody>
      </p:sp>
      <p:sp>
        <p:nvSpPr>
          <p:cNvPr id="145" name="PlaceHolder 4"/>
          <p:cNvSpPr>
            <a:spLocks noGrp="1"/>
          </p:cNvSpPr>
          <p:nvPr>
            <p:ph type="dt" idx="10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indent="0" algn="r">
              <a:buNone/>
              <a:defRPr lang="cs-CZ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r>
              <a:rPr lang="cs-CZ" sz="1400" b="0" strike="noStrike" spc="-1">
                <a:solidFill>
                  <a:srgbClr val="000000"/>
                </a:solidFill>
                <a:latin typeface="Times New Roman"/>
              </a:rPr>
              <a:t>&lt;datum/čas&gt;</a:t>
            </a:r>
          </a:p>
        </p:txBody>
      </p:sp>
      <p:sp>
        <p:nvSpPr>
          <p:cNvPr id="146" name="PlaceHolder 5"/>
          <p:cNvSpPr>
            <a:spLocks noGrp="1"/>
          </p:cNvSpPr>
          <p:nvPr>
            <p:ph type="ftr" idx="11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>
              <a:buNone/>
              <a:defRPr lang="cs-CZ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>
              <a:buNone/>
            </a:pPr>
            <a:r>
              <a:rPr lang="cs-CZ" sz="1400" b="0" strike="noStrike" spc="-1">
                <a:solidFill>
                  <a:srgbClr val="000000"/>
                </a:solidFill>
                <a:latin typeface="Times New Roman"/>
              </a:rPr>
              <a:t>&lt;zápatí&gt;</a:t>
            </a:r>
          </a:p>
        </p:txBody>
      </p:sp>
      <p:sp>
        <p:nvSpPr>
          <p:cNvPr id="147" name="PlaceHolder 6"/>
          <p:cNvSpPr>
            <a:spLocks noGrp="1"/>
          </p:cNvSpPr>
          <p:nvPr>
            <p:ph type="sldNum" idx="12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algn="r">
              <a:buNone/>
              <a:defRPr lang="cs-CZ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buNone/>
            </a:pPr>
            <a:fld id="{968FE651-D20A-41CA-B36A-0AD7FB8BCA5F}" type="slidenum">
              <a:rPr lang="cs-CZ" sz="1400" b="0" strike="noStrike" spc="-1">
                <a:solidFill>
                  <a:srgbClr val="000000"/>
                </a:solidFill>
                <a:latin typeface="Times New Roman"/>
              </a:rPr>
              <a:t>‹#›</a:t>
            </a:fld>
            <a:endParaRPr lang="cs-CZ" sz="1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ln w="0">
            <a:noFill/>
          </a:ln>
        </p:spPr>
      </p:sp>
      <p:sp>
        <p:nvSpPr>
          <p:cNvPr id="25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 marL="216000" indent="0">
              <a:buNone/>
            </a:pPr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7" name="PlaceHolder 3"/>
          <p:cNvSpPr>
            <a:spLocks noGrp="1"/>
          </p:cNvSpPr>
          <p:nvPr>
            <p:ph type="sldNum" idx="13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lstStyle>
            <a:lvl1pPr indent="0" algn="r">
              <a:lnSpc>
                <a:spcPct val="100000"/>
              </a:lnSpc>
              <a:buNone/>
              <a:defRPr lang="cs-CZ" sz="12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BBF9F72E-4FFC-42D1-973F-51E36657821F}" type="slidenum">
              <a:rPr lang="cs-CZ" sz="1200" b="0" strike="noStrike" spc="-1">
                <a:solidFill>
                  <a:srgbClr val="000000"/>
                </a:solidFill>
                <a:latin typeface="Times New Roman"/>
              </a:rPr>
              <a:t>9</a:t>
            </a:fld>
            <a:endParaRPr lang="cs-CZ" sz="12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EA41AD61-FE6B-4C22-93EC-0F1634DEE40E}" type="slidenum">
              <a:t>‹#›</a:t>
            </a:fld>
            <a:endParaRPr/>
          </a:p>
        </p:txBody>
      </p:sp>
      <p:sp>
        <p:nvSpPr>
          <p:cNvPr id="4" name="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117C6F79-0489-46C7-9B2F-079853CBF62F}" type="slidenum">
              <a:t>‹#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8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5B386BA4-ADC0-4F73-AC35-00142EE48C11}" type="slidenum">
              <a:t>‹#›</a:t>
            </a:fld>
            <a:endParaRPr/>
          </a:p>
        </p:txBody>
      </p:sp>
      <p:sp>
        <p:nvSpPr>
          <p:cNvPr id="9" name="PlaceHolder 8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1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2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3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4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5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8FEEC56C-7002-450B-918F-0F79BA9AF6D8}" type="slidenum">
              <a:t>‹#›</a:t>
            </a:fld>
            <a:endParaRPr/>
          </a:p>
        </p:txBody>
      </p:sp>
      <p:sp>
        <p:nvSpPr>
          <p:cNvPr id="11" name="PlaceHolder 10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B0071E50-B98F-41C7-B617-01CF4CFBE544}" type="slidenum">
              <a:t>‹#›</a:t>
            </a:fld>
            <a:endParaRPr/>
          </a:p>
        </p:txBody>
      </p:sp>
      <p:sp>
        <p:nvSpPr>
          <p:cNvPr id="4" name="PlaceHolder 3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cs-CZ" sz="3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EBF7C6D-31C6-42B8-98A5-323048438ECD}" type="slidenum">
              <a:t>‹#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54AD6C6D-9BDB-4D10-8CF8-52FBE818C8D6}" type="slidenum">
              <a:t>‹#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929FD83-FC23-48A7-8D9C-FB056451026E}" type="slidenum">
              <a:t>‹#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A3FADC6-5E65-4B42-B348-DFF535DC912A}" type="slidenum">
              <a:t>‹#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subTitle"/>
          </p:nvPr>
        </p:nvSpPr>
        <p:spPr>
          <a:xfrm>
            <a:off x="680400" y="753120"/>
            <a:ext cx="9613440" cy="5010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/>
            <a:endParaRPr lang="cs-CZ" sz="3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09900051-8E28-49C2-A646-7C38E03EB8B6}" type="slidenum">
              <a:t>‹#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510A07FC-9F75-4C59-AFE2-9FD50D659501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1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cs-CZ" sz="3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AE2BC49-7E15-48F8-8FF1-203D1EA772FA}" type="slidenum">
              <a:t>‹#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4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1A4EF29F-5431-4058-8564-C2F1BA174679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4B07A187-0FD7-468D-BF5D-43AFAE15C18F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590CBAC-6500-43B5-9352-C8E26EF0E39D}" type="slidenum">
              <a:t>‹#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6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050BDCFA-F5AF-4AC8-99AA-8E1DC6511AF3}" type="slidenum">
              <a:t>‹#›</a:t>
            </a:fld>
            <a:endParaRPr/>
          </a:p>
        </p:txBody>
      </p:sp>
      <p:sp>
        <p:nvSpPr>
          <p:cNvPr id="9" name="PlaceHolder 8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89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90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91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92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93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B688CC23-6308-49A3-A8A2-E4D4CC1C5C3F}" type="slidenum">
              <a:t>‹#›</a:t>
            </a:fld>
            <a:endParaRPr/>
          </a:p>
        </p:txBody>
      </p:sp>
      <p:sp>
        <p:nvSpPr>
          <p:cNvPr id="11" name="PlaceHolder 10"/>
          <p:cNvSpPr>
            <a:spLocks noGrp="1"/>
          </p:cNvSpPr>
          <p:nvPr>
            <p:ph type="dt" idx="4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CD3B9ACE-EA59-40F3-9C34-4823AF42B169}" type="slidenum">
              <a:t>‹#›</a:t>
            </a:fld>
            <a:endParaRPr/>
          </a:p>
        </p:txBody>
      </p:sp>
      <p:sp>
        <p:nvSpPr>
          <p:cNvPr id="4" name="PlaceHolder 3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07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cs-CZ" sz="3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4DD00E9D-59C5-4B50-8149-7623DE431623}" type="slidenum">
              <a:t>‹#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0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EC495E9A-80C3-4250-8FB0-E3C8E2B0FE43}" type="slidenum">
              <a:t>‹#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1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0D2C0B66-FE1D-44C5-AABB-A26605D63BC1}" type="slidenum">
              <a:t>‹#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EA4C8199-0950-430D-BFF8-AA00061AA3EC}" type="slidenum">
              <a:t>‹#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C9B4B14C-C46E-492C-8E77-B7B62157EF33}" type="slidenum">
              <a:t>‹#›</a:t>
            </a:fld>
            <a:endParaRPr/>
          </a:p>
        </p:txBody>
      </p:sp>
      <p:sp>
        <p:nvSpPr>
          <p:cNvPr id="6" name="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PlaceHolder 1"/>
          <p:cNvSpPr>
            <a:spLocks noGrp="1"/>
          </p:cNvSpPr>
          <p:nvPr>
            <p:ph type="subTitle"/>
          </p:nvPr>
        </p:nvSpPr>
        <p:spPr>
          <a:xfrm>
            <a:off x="680400" y="753120"/>
            <a:ext cx="9613440" cy="5010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/>
            <a:endParaRPr lang="cs-CZ" sz="3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BEB9BA3D-C964-4602-A595-A6D78F9CD6E4}" type="slidenum">
              <a:t>‹#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1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1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1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443ADBCF-3766-44B6-9A4B-6929A820CED2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2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3CCAC17F-E9FF-466F-9664-10D918B19D69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6A96454D-6E84-4B8D-8754-D289A571856F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29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E1BFC7C9-D10A-409E-B44A-163D74592602}" type="slidenum">
              <a:t>‹#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4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CD9DA852-42E9-4B8A-9ED8-94A090165B80}" type="slidenum">
              <a:t>‹#›</a:t>
            </a:fld>
            <a:endParaRPr/>
          </a:p>
        </p:txBody>
      </p:sp>
      <p:sp>
        <p:nvSpPr>
          <p:cNvPr id="9" name="PlaceHolder 8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7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8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39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40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41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9"/>
          </p:nvPr>
        </p:nvSpPr>
        <p:spPr/>
        <p:txBody>
          <a:bodyPr/>
          <a:lstStyle/>
          <a:p>
            <a:fld id="{67928026-F776-4909-AAD9-1B4366A28393}" type="slidenum">
              <a:t>‹#›</a:t>
            </a:fld>
            <a:endParaRPr/>
          </a:p>
        </p:txBody>
      </p:sp>
      <p:sp>
        <p:nvSpPr>
          <p:cNvPr id="11" name="PlaceHolder 10"/>
          <p:cNvSpPr>
            <a:spLocks noGrp="1"/>
          </p:cNvSpPr>
          <p:nvPr>
            <p:ph type="dt" idx="7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D5069FB-ED66-46DA-8AC5-785F10FD3977}" type="slidenum">
              <a:t>‹#›</a:t>
            </a:fld>
            <a:endParaRPr/>
          </a:p>
        </p:txBody>
      </p:sp>
      <p:sp>
        <p:nvSpPr>
          <p:cNvPr id="7" name="PlaceHolder 6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188AA3D-86B0-4EF4-A754-FB200DDCCD5A}" type="slidenum">
              <a:t>‹#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ceHolder 1"/>
          <p:cNvSpPr>
            <a:spLocks noGrp="1"/>
          </p:cNvSpPr>
          <p:nvPr>
            <p:ph type="subTitle"/>
          </p:nvPr>
        </p:nvSpPr>
        <p:spPr>
          <a:xfrm>
            <a:off x="680400" y="753120"/>
            <a:ext cx="9613440" cy="5010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/>
            <a:endParaRPr lang="cs-CZ" sz="3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407C10C7-219C-46F4-81B8-4E62ABBDBDCA}" type="slidenum">
              <a:t>‹#›</a:t>
            </a:fld>
            <a:endParaRPr/>
          </a:p>
        </p:txBody>
      </p:sp>
      <p:sp>
        <p:nvSpPr>
          <p:cNvPr id="5" name="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21A24BF-F7EB-4989-A539-E477F61DADE3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6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63C4F1D-E81F-4C95-AB53-41B2C51F89F4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3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lnSpc>
                <a:spcPct val="90000"/>
              </a:lnSpc>
              <a:spcBef>
                <a:spcPts val="1417"/>
              </a:spcBef>
              <a:buNone/>
            </a:pP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6A5CB9E8-9958-402A-8524-5E2FA2C7C9CB}" type="slidenum">
              <a:t>‹#›</a:t>
            </a:fld>
            <a:endParaRPr/>
          </a:p>
        </p:txBody>
      </p:sp>
      <p:sp>
        <p:nvSpPr>
          <p:cNvPr id="8" name="PlaceHolder 7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2.w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50000">
              <a:srgbClr val="FFFFFF"/>
            </a:gs>
            <a:gs pos="100000">
              <a:srgbClr val="627BBD"/>
            </a:gs>
          </a:gsLst>
          <a:lin ang="252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hashOverlay-FullResolve.png"/>
          <p:cNvPicPr/>
          <p:nvPr/>
        </p:nvPicPr>
        <p:blipFill>
          <a:blip r:embed="rId14">
            <a:alphaModFix amt="10000"/>
          </a:blip>
          <a:stretch/>
        </p:blipFill>
        <p:spPr>
          <a:xfrm>
            <a:off x="0" y="0"/>
            <a:ext cx="12191760" cy="6857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0" name="Objekt 7" hidden="1"/>
          <p:cNvGraphicFramePr/>
          <p:nvPr>
            <p:extLst>
              <p:ext uri="{D42A27DB-BD31-4B8C-83A1-F6EECF244321}">
                <p14:modId xmlns:p14="http://schemas.microsoft.com/office/powerpoint/2010/main" val="1739608015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10" name="Objekt 7" hidden="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HD-ShadowShort.png"/>
          <p:cNvPicPr/>
          <p:nvPr/>
        </p:nvPicPr>
        <p:blipFill>
          <a:blip r:embed="rId17"/>
          <a:stretch/>
        </p:blipFill>
        <p:spPr>
          <a:xfrm>
            <a:off x="10585800" y="1971360"/>
            <a:ext cx="1602720" cy="144000"/>
          </a:xfrm>
          <a:prstGeom prst="rect">
            <a:avLst/>
          </a:prstGeom>
          <a:ln w="0">
            <a:noFill/>
          </a:ln>
        </p:spPr>
      </p:pic>
      <p:sp>
        <p:nvSpPr>
          <p:cNvPr id="4" name="Rectangle 5"/>
          <p:cNvSpPr/>
          <p:nvPr/>
        </p:nvSpPr>
        <p:spPr>
          <a:xfrm>
            <a:off x="10585800" y="609480"/>
            <a:ext cx="1602720" cy="13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1"/>
          <p:cNvSpPr>
            <a:spLocks noGrp="1"/>
          </p:cNvSpPr>
          <p:nvPr>
            <p:ph type="dt" idx="1"/>
          </p:nvPr>
        </p:nvSpPr>
        <p:spPr>
          <a:xfrm>
            <a:off x="7551000" y="593604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r">
              <a:lnSpc>
                <a:spcPct val="100000"/>
              </a:lnSpc>
              <a:buNone/>
              <a:defRPr lang="cs-CZ" sz="1050" b="0" strike="noStrike" spc="-1">
                <a:solidFill>
                  <a:srgbClr val="8C8C8C"/>
                </a:solidFill>
                <a:latin typeface="Trebuchet MS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r>
              <a:rPr lang="cs-CZ" sz="1050" b="0" strike="noStrike" spc="-1">
                <a:solidFill>
                  <a:srgbClr val="8C8C8C"/>
                </a:solidFill>
                <a:latin typeface="Trebuchet MS"/>
              </a:rPr>
              <a:t>&lt;datum/čas&gt;</a:t>
            </a:r>
            <a:endParaRPr lang="cs-CZ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ftr" idx="2"/>
          </p:nvPr>
        </p:nvSpPr>
        <p:spPr>
          <a:xfrm>
            <a:off x="680400" y="5936040"/>
            <a:ext cx="68702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ctr">
              <a:buNone/>
              <a:defRPr lang="cs-CZ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buNone/>
            </a:pPr>
            <a:r>
              <a:rPr lang="cs-CZ" sz="1400" b="0" strike="noStrike" spc="-1">
                <a:solidFill>
                  <a:srgbClr val="000000"/>
                </a:solidFill>
                <a:latin typeface="Times New Roman"/>
              </a:rPr>
              <a:t>&lt;zápatí&gt;</a:t>
            </a:r>
          </a:p>
        </p:txBody>
      </p:sp>
      <p:sp>
        <p:nvSpPr>
          <p:cNvPr id="7" name="PlaceHolder 3"/>
          <p:cNvSpPr>
            <a:spLocks noGrp="1"/>
          </p:cNvSpPr>
          <p:nvPr>
            <p:ph type="sldNum" idx="3"/>
          </p:nvPr>
        </p:nvSpPr>
        <p:spPr>
          <a:xfrm>
            <a:off x="10729440" y="753120"/>
            <a:ext cx="1153800" cy="109044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>
              <a:lnSpc>
                <a:spcPct val="100000"/>
              </a:lnSpc>
              <a:buNone/>
              <a:defRPr lang="cs-CZ" sz="3600" b="0" strike="noStrike" spc="-1">
                <a:solidFill>
                  <a:srgbClr val="8C8C8C"/>
                </a:solidFill>
                <a:latin typeface="Trebuchet MS"/>
              </a:defRPr>
            </a:lvl1pPr>
          </a:lstStyle>
          <a:p>
            <a:pPr indent="0">
              <a:lnSpc>
                <a:spcPct val="100000"/>
              </a:lnSpc>
              <a:buNone/>
            </a:pPr>
            <a:fld id="{B78A2BC9-9970-47F7-84F7-36441035758B}" type="slidenum">
              <a:rPr lang="cs-CZ" sz="3600" b="0" strike="noStrike" spc="-1">
                <a:solidFill>
                  <a:srgbClr val="8C8C8C"/>
                </a:solidFill>
                <a:latin typeface="Trebuchet MS"/>
              </a:rPr>
              <a:t>‹#›</a:t>
            </a:fld>
            <a:endParaRPr lang="cs-CZ" sz="36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8" name="PlaceHolder 4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vert="horz" lIns="0" tIns="0" rIns="0" bIns="0" anchor="ctr">
            <a:noAutofit/>
          </a:bodyPr>
          <a:lstStyle/>
          <a:p>
            <a:pPr indent="0">
              <a:buNone/>
            </a:pPr>
            <a:r>
              <a:rPr lang="en-US" sz="1800" b="0" strike="noStrike" spc="-1">
                <a:solidFill>
                  <a:srgbClr val="171616"/>
                </a:solidFill>
                <a:latin typeface="Trebuchet MS"/>
              </a:rPr>
              <a:t>Klikněte pro úpravu formátu textu nadpisu</a:t>
            </a:r>
          </a:p>
        </p:txBody>
      </p:sp>
      <p:sp>
        <p:nvSpPr>
          <p:cNvPr id="9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400" b="0" strike="noStrike" spc="-1">
                <a:solidFill>
                  <a:srgbClr val="171616"/>
                </a:solidFill>
                <a:latin typeface="Trebuchet MS"/>
              </a:rPr>
              <a:t>Klikněte pro úpravu formátu textu osnovy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1800" b="0" strike="noStrike" spc="-1">
                <a:solidFill>
                  <a:srgbClr val="171616"/>
                </a:solidFill>
                <a:latin typeface="Trebuchet MS"/>
              </a:rPr>
              <a:t>Druhá úroveň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1600" b="0" strike="noStrike" spc="-1">
                <a:solidFill>
                  <a:srgbClr val="171616"/>
                </a:solidFill>
                <a:latin typeface="Trebuchet MS"/>
              </a:rPr>
              <a:t>Třetí úroveň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1600" b="0" strike="noStrike" spc="-1">
                <a:solidFill>
                  <a:srgbClr val="171616"/>
                </a:solidFill>
                <a:latin typeface="Trebuchet MS"/>
              </a:rPr>
              <a:t>Čtvrtá úroveň osnovy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171616"/>
                </a:solidFill>
                <a:latin typeface="Trebuchet MS"/>
              </a:rPr>
              <a:t>Pátá úroveň osnovy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171616"/>
                </a:solidFill>
                <a:latin typeface="Trebuchet MS"/>
              </a:rPr>
              <a:t>Šestá úroveň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171616"/>
                </a:solidFill>
                <a:latin typeface="Trebuchet MS"/>
              </a:rPr>
              <a:t>Sedmá úroveň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50000">
              <a:srgbClr val="FFFFFF"/>
            </a:gs>
            <a:gs pos="100000">
              <a:srgbClr val="627BBD"/>
            </a:gs>
          </a:gsLst>
          <a:lin ang="252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6" descr="hashOverlay-FullResolve.png"/>
          <p:cNvPicPr/>
          <p:nvPr/>
        </p:nvPicPr>
        <p:blipFill>
          <a:blip r:embed="rId14">
            <a:alphaModFix amt="10000"/>
          </a:blip>
          <a:stretch/>
        </p:blipFill>
        <p:spPr>
          <a:xfrm>
            <a:off x="0" y="0"/>
            <a:ext cx="12191760" cy="6857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7" name="Objekt 7" hidden="1"/>
          <p:cNvGraphicFramePr/>
          <p:nvPr>
            <p:extLst>
              <p:ext uri="{D42A27DB-BD31-4B8C-83A1-F6EECF244321}">
                <p14:modId xmlns:p14="http://schemas.microsoft.com/office/powerpoint/2010/main" val="86944161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47" name="Objekt 7" hidden="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" name="Picture 14" descr="HD-ShadowLong.png"/>
          <p:cNvPicPr/>
          <p:nvPr/>
        </p:nvPicPr>
        <p:blipFill>
          <a:blip r:embed="rId17"/>
          <a:stretch/>
        </p:blipFill>
        <p:spPr>
          <a:xfrm>
            <a:off x="0" y="1970280"/>
            <a:ext cx="10437480" cy="320760"/>
          </a:xfrm>
          <a:prstGeom prst="rect">
            <a:avLst/>
          </a:prstGeom>
          <a:ln w="0">
            <a:noFill/>
          </a:ln>
        </p:spPr>
      </p:pic>
      <p:pic>
        <p:nvPicPr>
          <p:cNvPr id="50" name="Picture 15" descr="HD-ShadowShort.png"/>
          <p:cNvPicPr/>
          <p:nvPr/>
        </p:nvPicPr>
        <p:blipFill>
          <a:blip r:embed="rId18"/>
          <a:stretch/>
        </p:blipFill>
        <p:spPr>
          <a:xfrm>
            <a:off x="10585800" y="1971360"/>
            <a:ext cx="1602720" cy="144000"/>
          </a:xfrm>
          <a:prstGeom prst="rect">
            <a:avLst/>
          </a:prstGeom>
          <a:ln w="0">
            <a:noFill/>
          </a:ln>
        </p:spPr>
      </p:pic>
      <p:sp>
        <p:nvSpPr>
          <p:cNvPr id="51" name="Rectangle 16"/>
          <p:cNvSpPr/>
          <p:nvPr/>
        </p:nvSpPr>
        <p:spPr>
          <a:xfrm>
            <a:off x="0" y="609480"/>
            <a:ext cx="10437480" cy="1368000"/>
          </a:xfrm>
          <a:prstGeom prst="rect">
            <a:avLst/>
          </a:pr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Rectangle 17"/>
          <p:cNvSpPr/>
          <p:nvPr/>
        </p:nvSpPr>
        <p:spPr>
          <a:xfrm>
            <a:off x="10585800" y="609480"/>
            <a:ext cx="1602720" cy="13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>
                <a:solidFill>
                  <a:srgbClr val="171616"/>
                </a:solidFill>
                <a:latin typeface="Trebuchet MS"/>
              </a:rPr>
              <a:t>Kliknutím lze upravit styl.</a:t>
            </a:r>
            <a:endParaRPr lang="en-US" sz="3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4" name="PlaceHolder 2"/>
          <p:cNvSpPr>
            <a:spLocks noGrp="1"/>
          </p:cNvSpPr>
          <p:nvPr>
            <p:ph type="body"/>
          </p:nvPr>
        </p:nvSpPr>
        <p:spPr>
          <a:xfrm>
            <a:off x="680400" y="2336760"/>
            <a:ext cx="9613440" cy="359892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Arial"/>
              <a:buChar char="•"/>
            </a:pPr>
            <a:r>
              <a:rPr lang="cs-CZ" sz="2400" b="0" strike="noStrike" spc="-1">
                <a:solidFill>
                  <a:srgbClr val="171616"/>
                </a:solidFill>
                <a:latin typeface="Trebuchet MS"/>
              </a:rPr>
              <a:t>Po kliknutí můžete upravovat styly textu v předloze.</a:t>
            </a:r>
            <a:endParaRPr lang="en-US" sz="2400" b="0" strike="noStrike" spc="-1">
              <a:solidFill>
                <a:srgbClr val="171616"/>
              </a:solidFill>
              <a:latin typeface="Trebuchet MS"/>
            </a:endParaRPr>
          </a:p>
          <a:p>
            <a:pPr marL="685800" lvl="1" indent="-228600">
              <a:lnSpc>
                <a:spcPct val="90000"/>
              </a:lnSpc>
              <a:spcBef>
                <a:spcPts val="499"/>
              </a:spcBef>
              <a:buClr>
                <a:srgbClr val="171616"/>
              </a:buClr>
              <a:buFont typeface="Arial"/>
              <a:buChar char="•"/>
            </a:pPr>
            <a:r>
              <a:rPr lang="cs-CZ" sz="2000" b="0" strike="noStrike" spc="-1">
                <a:solidFill>
                  <a:srgbClr val="171616"/>
                </a:solidFill>
                <a:latin typeface="Trebuchet MS"/>
              </a:rPr>
              <a:t>Druhá úroveň</a:t>
            </a:r>
            <a:endParaRPr lang="en-US" sz="2000" b="0" strike="noStrike" spc="-1">
              <a:solidFill>
                <a:srgbClr val="171616"/>
              </a:solidFill>
              <a:latin typeface="Trebuchet MS"/>
            </a:endParaRPr>
          </a:p>
          <a:p>
            <a:pPr marL="1143000" lvl="2" indent="-228600">
              <a:lnSpc>
                <a:spcPct val="90000"/>
              </a:lnSpc>
              <a:spcBef>
                <a:spcPts val="499"/>
              </a:spcBef>
              <a:buClr>
                <a:srgbClr val="171616"/>
              </a:buClr>
              <a:buFont typeface="Arial"/>
              <a:buChar char="•"/>
            </a:pPr>
            <a:r>
              <a:rPr lang="cs-CZ" sz="1800" b="0" strike="noStrike" spc="-1">
                <a:solidFill>
                  <a:srgbClr val="171616"/>
                </a:solidFill>
                <a:latin typeface="Trebuchet MS"/>
              </a:rPr>
              <a:t>Třetí úroveň</a:t>
            </a:r>
            <a:endParaRPr lang="en-US" sz="1800" b="0" strike="noStrike" spc="-1">
              <a:solidFill>
                <a:srgbClr val="171616"/>
              </a:solidFill>
              <a:latin typeface="Trebuchet MS"/>
            </a:endParaRPr>
          </a:p>
          <a:p>
            <a:pPr marL="1600200" lvl="3" indent="-228600">
              <a:lnSpc>
                <a:spcPct val="90000"/>
              </a:lnSpc>
              <a:spcBef>
                <a:spcPts val="499"/>
              </a:spcBef>
              <a:buClr>
                <a:srgbClr val="171616"/>
              </a:buClr>
              <a:buFont typeface="Arial"/>
              <a:buChar char="•"/>
            </a:pPr>
            <a:r>
              <a:rPr lang="cs-CZ" sz="1600" b="0" strike="noStrike" spc="-1">
                <a:solidFill>
                  <a:srgbClr val="171616"/>
                </a:solidFill>
                <a:latin typeface="Trebuchet MS"/>
              </a:rPr>
              <a:t>Čtvrtá úroveň</a:t>
            </a:r>
            <a:endParaRPr lang="en-US" sz="1600" b="0" strike="noStrike" spc="-1">
              <a:solidFill>
                <a:srgbClr val="171616"/>
              </a:solidFill>
              <a:latin typeface="Trebuchet MS"/>
            </a:endParaRPr>
          </a:p>
          <a:p>
            <a:pPr marL="2057400" lvl="4" indent="-228600">
              <a:lnSpc>
                <a:spcPct val="90000"/>
              </a:lnSpc>
              <a:spcBef>
                <a:spcPts val="499"/>
              </a:spcBef>
              <a:buClr>
                <a:srgbClr val="171616"/>
              </a:buClr>
              <a:buFont typeface="Arial"/>
              <a:buChar char="•"/>
            </a:pPr>
            <a:r>
              <a:rPr lang="cs-CZ" sz="1600" b="0" strike="noStrike" spc="-1">
                <a:solidFill>
                  <a:srgbClr val="171616"/>
                </a:solidFill>
                <a:latin typeface="Trebuchet MS"/>
              </a:rPr>
              <a:t>Pátá úroveň</a:t>
            </a:r>
            <a:endParaRPr lang="en-US" sz="1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55" name="PlaceHolder 3"/>
          <p:cNvSpPr>
            <a:spLocks noGrp="1"/>
          </p:cNvSpPr>
          <p:nvPr>
            <p:ph type="dt" idx="4"/>
          </p:nvPr>
        </p:nvSpPr>
        <p:spPr>
          <a:xfrm>
            <a:off x="7551000" y="593604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r">
              <a:lnSpc>
                <a:spcPct val="100000"/>
              </a:lnSpc>
              <a:buNone/>
              <a:defRPr lang="cs-CZ" sz="1050" b="0" strike="noStrike" spc="-1">
                <a:solidFill>
                  <a:srgbClr val="8C8C8C"/>
                </a:solidFill>
                <a:latin typeface="Trebuchet MS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r>
              <a:rPr lang="cs-CZ" sz="1050" b="0" strike="noStrike" spc="-1">
                <a:solidFill>
                  <a:srgbClr val="8C8C8C"/>
                </a:solidFill>
                <a:latin typeface="Trebuchet MS"/>
              </a:rPr>
              <a:t>&lt;datum/čas&gt;</a:t>
            </a:r>
            <a:endParaRPr lang="cs-CZ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56" name="PlaceHolder 4"/>
          <p:cNvSpPr>
            <a:spLocks noGrp="1"/>
          </p:cNvSpPr>
          <p:nvPr>
            <p:ph type="ftr" idx="5"/>
          </p:nvPr>
        </p:nvSpPr>
        <p:spPr>
          <a:xfrm>
            <a:off x="680400" y="5936040"/>
            <a:ext cx="68702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ctr">
              <a:buNone/>
              <a:defRPr lang="cs-CZ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buNone/>
            </a:pPr>
            <a:r>
              <a:rPr lang="cs-CZ" sz="1400" b="0" strike="noStrike" spc="-1">
                <a:solidFill>
                  <a:srgbClr val="000000"/>
                </a:solidFill>
                <a:latin typeface="Times New Roman"/>
              </a:rPr>
              <a:t>&lt;zápatí&gt;</a:t>
            </a:r>
          </a:p>
        </p:txBody>
      </p:sp>
      <p:sp>
        <p:nvSpPr>
          <p:cNvPr id="57" name="PlaceHolder 5"/>
          <p:cNvSpPr>
            <a:spLocks noGrp="1"/>
          </p:cNvSpPr>
          <p:nvPr>
            <p:ph type="sldNum" idx="6"/>
          </p:nvPr>
        </p:nvSpPr>
        <p:spPr>
          <a:xfrm>
            <a:off x="10729440" y="753120"/>
            <a:ext cx="1153800" cy="109044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>
              <a:lnSpc>
                <a:spcPct val="100000"/>
              </a:lnSpc>
              <a:buNone/>
              <a:defRPr lang="cs-CZ" sz="3600" b="0" strike="noStrike" spc="-1">
                <a:solidFill>
                  <a:srgbClr val="8C8C8C"/>
                </a:solidFill>
                <a:latin typeface="Trebuchet MS"/>
              </a:defRPr>
            </a:lvl1pPr>
          </a:lstStyle>
          <a:p>
            <a:pPr indent="0">
              <a:lnSpc>
                <a:spcPct val="100000"/>
              </a:lnSpc>
              <a:buNone/>
            </a:pPr>
            <a:fld id="{5581E143-1B8E-40A0-8E2F-A047504D9D75}" type="slidenum">
              <a:rPr lang="cs-CZ" sz="3600" b="0" strike="noStrike" spc="-1">
                <a:solidFill>
                  <a:srgbClr val="8C8C8C"/>
                </a:solidFill>
                <a:latin typeface="Trebuchet MS"/>
              </a:rPr>
              <a:t>‹#›</a:t>
            </a:fld>
            <a:endParaRPr lang="cs-CZ" sz="36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50000">
              <a:srgbClr val="FFFFFF"/>
            </a:gs>
            <a:gs pos="100000">
              <a:srgbClr val="627BBD"/>
            </a:gs>
          </a:gsLst>
          <a:lin ang="252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6" descr="hashOverlay-FullResolve.png"/>
          <p:cNvPicPr/>
          <p:nvPr/>
        </p:nvPicPr>
        <p:blipFill>
          <a:blip r:embed="rId14">
            <a:alphaModFix amt="10000"/>
          </a:blip>
          <a:stretch/>
        </p:blipFill>
        <p:spPr>
          <a:xfrm>
            <a:off x="0" y="0"/>
            <a:ext cx="12191760" cy="6857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95" name="Objekt 7" hidden="1"/>
          <p:cNvGraphicFramePr/>
          <p:nvPr>
            <p:extLst>
              <p:ext uri="{D42A27DB-BD31-4B8C-83A1-F6EECF244321}">
                <p14:modId xmlns:p14="http://schemas.microsoft.com/office/powerpoint/2010/main" val="1504216937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95" name="Objekt 7" hidden="1"/>
                      <p:cNvPicPr/>
                      <p:nvPr/>
                    </p:nvPicPr>
                    <p:blipFill>
                      <a:blip r:embed="rId16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7" name="Picture 5" descr="HD-ShadowLong.png"/>
          <p:cNvPicPr/>
          <p:nvPr/>
        </p:nvPicPr>
        <p:blipFill>
          <a:blip r:embed="rId17"/>
          <a:stretch/>
        </p:blipFill>
        <p:spPr>
          <a:xfrm>
            <a:off x="0" y="1970280"/>
            <a:ext cx="10437480" cy="320760"/>
          </a:xfrm>
          <a:prstGeom prst="rect">
            <a:avLst/>
          </a:prstGeom>
          <a:ln w="0">
            <a:noFill/>
          </a:ln>
        </p:spPr>
      </p:pic>
      <p:pic>
        <p:nvPicPr>
          <p:cNvPr id="98" name="Picture 6" descr="HD-ShadowShort.png"/>
          <p:cNvPicPr/>
          <p:nvPr/>
        </p:nvPicPr>
        <p:blipFill>
          <a:blip r:embed="rId18"/>
          <a:stretch/>
        </p:blipFill>
        <p:spPr>
          <a:xfrm>
            <a:off x="10585800" y="1971360"/>
            <a:ext cx="1602720" cy="144000"/>
          </a:xfrm>
          <a:prstGeom prst="rect">
            <a:avLst/>
          </a:prstGeom>
          <a:ln w="0">
            <a:noFill/>
          </a:ln>
        </p:spPr>
      </p:pic>
      <p:sp>
        <p:nvSpPr>
          <p:cNvPr id="99" name="Rectangle 7"/>
          <p:cNvSpPr/>
          <p:nvPr/>
        </p:nvSpPr>
        <p:spPr>
          <a:xfrm>
            <a:off x="0" y="609480"/>
            <a:ext cx="10437480" cy="1368000"/>
          </a:xfrm>
          <a:prstGeom prst="rect">
            <a:avLst/>
          </a:prstGeom>
          <a:solidFill>
            <a:schemeClr val="bg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Rectangle 8"/>
          <p:cNvSpPr/>
          <p:nvPr/>
        </p:nvSpPr>
        <p:spPr>
          <a:xfrm>
            <a:off x="10585800" y="609480"/>
            <a:ext cx="1602720" cy="136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>
                <a:solidFill>
                  <a:srgbClr val="171616"/>
                </a:solidFill>
                <a:latin typeface="Trebuchet MS"/>
              </a:rPr>
              <a:t>Kliknutím lze upravit styl.</a:t>
            </a:r>
            <a:endParaRPr lang="en-US" sz="3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02" name="PlaceHolder 2"/>
          <p:cNvSpPr>
            <a:spLocks noGrp="1"/>
          </p:cNvSpPr>
          <p:nvPr>
            <p:ph type="dt" idx="7"/>
          </p:nvPr>
        </p:nvSpPr>
        <p:spPr>
          <a:xfrm>
            <a:off x="7551000" y="5936040"/>
            <a:ext cx="27428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r">
              <a:lnSpc>
                <a:spcPct val="100000"/>
              </a:lnSpc>
              <a:buNone/>
              <a:defRPr lang="cs-CZ" sz="1050" b="0" strike="noStrike" spc="-1">
                <a:solidFill>
                  <a:srgbClr val="8C8C8C"/>
                </a:solidFill>
                <a:latin typeface="Trebuchet MS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r>
              <a:rPr lang="cs-CZ" sz="1050" b="0" strike="noStrike" spc="-1">
                <a:solidFill>
                  <a:srgbClr val="8C8C8C"/>
                </a:solidFill>
                <a:latin typeface="Trebuchet MS"/>
              </a:rPr>
              <a:t>&lt;datum/čas&gt;</a:t>
            </a:r>
            <a:endParaRPr lang="cs-CZ" sz="105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03" name="PlaceHolder 3"/>
          <p:cNvSpPr>
            <a:spLocks noGrp="1"/>
          </p:cNvSpPr>
          <p:nvPr>
            <p:ph type="ftr" idx="8"/>
          </p:nvPr>
        </p:nvSpPr>
        <p:spPr>
          <a:xfrm>
            <a:off x="680400" y="5936040"/>
            <a:ext cx="6870240" cy="36468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 algn="ctr">
              <a:buNone/>
              <a:defRPr lang="cs-CZ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indent="0" algn="ctr">
              <a:buNone/>
            </a:pPr>
            <a:r>
              <a:rPr lang="cs-CZ" sz="1400" b="0" strike="noStrike" spc="-1">
                <a:solidFill>
                  <a:srgbClr val="000000"/>
                </a:solidFill>
                <a:latin typeface="Times New Roman"/>
              </a:rPr>
              <a:t>&lt;zápatí&gt;</a:t>
            </a:r>
          </a:p>
        </p:txBody>
      </p:sp>
      <p:sp>
        <p:nvSpPr>
          <p:cNvPr id="104" name="PlaceHolder 4"/>
          <p:cNvSpPr>
            <a:spLocks noGrp="1"/>
          </p:cNvSpPr>
          <p:nvPr>
            <p:ph type="sldNum" idx="9"/>
          </p:nvPr>
        </p:nvSpPr>
        <p:spPr>
          <a:xfrm>
            <a:off x="10729440" y="753120"/>
            <a:ext cx="1153800" cy="1090440"/>
          </a:xfrm>
          <a:prstGeom prst="rect">
            <a:avLst/>
          </a:prstGeom>
          <a:noFill/>
          <a:ln w="0">
            <a:noFill/>
          </a:ln>
        </p:spPr>
        <p:txBody>
          <a:bodyPr anchor="ctr">
            <a:noAutofit/>
          </a:bodyPr>
          <a:lstStyle>
            <a:lvl1pPr indent="0">
              <a:lnSpc>
                <a:spcPct val="100000"/>
              </a:lnSpc>
              <a:buNone/>
              <a:defRPr lang="cs-CZ" sz="3600" b="0" strike="noStrike" spc="-1">
                <a:solidFill>
                  <a:srgbClr val="8C8C8C"/>
                </a:solidFill>
                <a:latin typeface="Trebuchet MS"/>
              </a:defRPr>
            </a:lvl1pPr>
          </a:lstStyle>
          <a:p>
            <a:pPr indent="0">
              <a:lnSpc>
                <a:spcPct val="100000"/>
              </a:lnSpc>
              <a:buNone/>
            </a:pPr>
            <a:fld id="{B7C8AC1F-EF30-4F1E-8961-FF37EA85B35B}" type="slidenum">
              <a:rPr lang="cs-CZ" sz="3600" b="0" strike="noStrike" spc="-1">
                <a:solidFill>
                  <a:srgbClr val="8C8C8C"/>
                </a:solidFill>
                <a:latin typeface="Trebuchet MS"/>
              </a:rPr>
              <a:t>‹#›</a:t>
            </a:fld>
            <a:endParaRPr lang="cs-CZ" sz="3600" b="0" strike="noStrike" spc="-1">
              <a:solidFill>
                <a:srgbClr val="000000"/>
              </a:solidFill>
              <a:latin typeface="Times New Roman"/>
            </a:endParaRPr>
          </a:p>
        </p:txBody>
      </p:sp>
      <p:sp>
        <p:nvSpPr>
          <p:cNvPr id="105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400" b="0" strike="noStrike" spc="-1">
                <a:solidFill>
                  <a:srgbClr val="171616"/>
                </a:solidFill>
                <a:latin typeface="Trebuchet MS"/>
              </a:rPr>
              <a:t>Klikněte pro úpravu formátu textu osnovy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1800" b="0" strike="noStrike" spc="-1">
                <a:solidFill>
                  <a:srgbClr val="171616"/>
                </a:solidFill>
                <a:latin typeface="Trebuchet MS"/>
              </a:rPr>
              <a:t>Druhá úroveň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1600" b="0" strike="noStrike" spc="-1">
                <a:solidFill>
                  <a:srgbClr val="171616"/>
                </a:solidFill>
                <a:latin typeface="Trebuchet MS"/>
              </a:rPr>
              <a:t>Třetí úroveň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en-US" sz="1600" b="0" strike="noStrike" spc="-1">
                <a:solidFill>
                  <a:srgbClr val="171616"/>
                </a:solidFill>
                <a:latin typeface="Trebuchet MS"/>
              </a:rPr>
              <a:t>Čtvrtá úroveň osnovy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171616"/>
                </a:solidFill>
                <a:latin typeface="Trebuchet MS"/>
              </a:rPr>
              <a:t>Pátá úroveň osnovy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171616"/>
                </a:solidFill>
                <a:latin typeface="Trebuchet MS"/>
              </a:rPr>
              <a:t>Šestá úroveň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en-US" sz="2000" b="0" strike="noStrike" spc="-1">
                <a:solidFill>
                  <a:srgbClr val="171616"/>
                </a:solidFill>
                <a:latin typeface="Trebuchet MS"/>
              </a:rPr>
              <a:t>Sedmá úroveň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4.bin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12.bin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5.bin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2.wmf"/><Relationship Id="rId7" Type="http://schemas.openxmlformats.org/officeDocument/2006/relationships/image" Target="../media/image12.jpg"/><Relationship Id="rId2" Type="http://schemas.openxmlformats.org/officeDocument/2006/relationships/oleObject" Target="../embeddings/oleObject6.bin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.wmf"/><Relationship Id="rId7" Type="http://schemas.openxmlformats.org/officeDocument/2006/relationships/image" Target="../media/image17.png"/><Relationship Id="rId2" Type="http://schemas.openxmlformats.org/officeDocument/2006/relationships/oleObject" Target="../embeddings/oleObject7.bin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jpeg"/><Relationship Id="rId3" Type="http://schemas.openxmlformats.org/officeDocument/2006/relationships/image" Target="../media/image2.wmf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oleObject" Target="../embeddings/oleObject8.bin"/><Relationship Id="rId16" Type="http://schemas.openxmlformats.org/officeDocument/2006/relationships/image" Target="../media/image12.jp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jpeg"/><Relationship Id="rId15" Type="http://schemas.openxmlformats.org/officeDocument/2006/relationships/image" Target="../media/image31.jpeg"/><Relationship Id="rId10" Type="http://schemas.openxmlformats.org/officeDocument/2006/relationships/image" Target="../media/image2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Relationship Id="rId1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9.bin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image" Target="../media/image46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12" Type="http://schemas.openxmlformats.org/officeDocument/2006/relationships/image" Target="../media/image45.jpeg"/><Relationship Id="rId17" Type="http://schemas.openxmlformats.org/officeDocument/2006/relationships/image" Target="../media/image50.jpeg"/><Relationship Id="rId2" Type="http://schemas.openxmlformats.org/officeDocument/2006/relationships/image" Target="../media/image35.jpeg"/><Relationship Id="rId16" Type="http://schemas.openxmlformats.org/officeDocument/2006/relationships/image" Target="../media/image4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jpeg"/><Relationship Id="rId11" Type="http://schemas.openxmlformats.org/officeDocument/2006/relationships/image" Target="../media/image44.jpeg"/><Relationship Id="rId5" Type="http://schemas.openxmlformats.org/officeDocument/2006/relationships/image" Target="../media/image38.jpeg"/><Relationship Id="rId15" Type="http://schemas.openxmlformats.org/officeDocument/2006/relationships/image" Target="../media/image48.jpeg"/><Relationship Id="rId10" Type="http://schemas.openxmlformats.org/officeDocument/2006/relationships/image" Target="../media/image43.jpeg"/><Relationship Id="rId4" Type="http://schemas.openxmlformats.org/officeDocument/2006/relationships/image" Target="../media/image37.jpeg"/><Relationship Id="rId9" Type="http://schemas.openxmlformats.org/officeDocument/2006/relationships/image" Target="../media/image42.jpeg"/><Relationship Id="rId14" Type="http://schemas.openxmlformats.org/officeDocument/2006/relationships/image" Target="../media/image4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10.bin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1.jpeg"/><Relationship Id="rId18" Type="http://schemas.openxmlformats.org/officeDocument/2006/relationships/image" Target="../media/image66.jpe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55.jpeg"/><Relationship Id="rId12" Type="http://schemas.openxmlformats.org/officeDocument/2006/relationships/image" Target="../media/image60.jpeg"/><Relationship Id="rId17" Type="http://schemas.openxmlformats.org/officeDocument/2006/relationships/image" Target="../media/image65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64.jpeg"/><Relationship Id="rId20" Type="http://schemas.openxmlformats.org/officeDocument/2006/relationships/image" Target="../media/image68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4.jpeg"/><Relationship Id="rId11" Type="http://schemas.openxmlformats.org/officeDocument/2006/relationships/image" Target="../media/image59.jpeg"/><Relationship Id="rId5" Type="http://schemas.openxmlformats.org/officeDocument/2006/relationships/image" Target="../media/image53.jpeg"/><Relationship Id="rId15" Type="http://schemas.openxmlformats.org/officeDocument/2006/relationships/image" Target="../media/image63.jpeg"/><Relationship Id="rId10" Type="http://schemas.openxmlformats.org/officeDocument/2006/relationships/image" Target="../media/image58.jpeg"/><Relationship Id="rId19" Type="http://schemas.openxmlformats.org/officeDocument/2006/relationships/image" Target="../media/image67.jpeg"/><Relationship Id="rId4" Type="http://schemas.openxmlformats.org/officeDocument/2006/relationships/image" Target="../media/image2.wmf"/><Relationship Id="rId9" Type="http://schemas.openxmlformats.org/officeDocument/2006/relationships/image" Target="../media/image57.jpeg"/><Relationship Id="rId14" Type="http://schemas.openxmlformats.org/officeDocument/2006/relationships/image" Target="../media/image6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8" name="Objekt 4" hidden="1"/>
          <p:cNvGraphicFramePr/>
          <p:nvPr>
            <p:extLst>
              <p:ext uri="{D42A27DB-BD31-4B8C-83A1-F6EECF244321}">
                <p14:modId xmlns:p14="http://schemas.microsoft.com/office/powerpoint/2010/main" val="3846746271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148" name="Objekt 4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0" name="Obrázek 2" descr="Obsah obrázku text, Písmo, logo, Grafika&#10;&#10;Popis byl vytvořen automaticky"/>
          <p:cNvPicPr/>
          <p:nvPr/>
        </p:nvPicPr>
        <p:blipFill>
          <a:blip r:embed="rId4"/>
          <a:stretch/>
        </p:blipFill>
        <p:spPr>
          <a:xfrm>
            <a:off x="1160280" y="2098800"/>
            <a:ext cx="9161640" cy="266040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1" name="Objekt 4" hidden="1"/>
          <p:cNvGraphicFramePr/>
          <p:nvPr>
            <p:extLst>
              <p:ext uri="{D42A27DB-BD31-4B8C-83A1-F6EECF244321}">
                <p14:modId xmlns:p14="http://schemas.microsoft.com/office/powerpoint/2010/main" val="297957884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251" name="Objekt 4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3" name="PlaceHolder 1"/>
          <p:cNvSpPr>
            <a:spLocks noGrp="1"/>
          </p:cNvSpPr>
          <p:nvPr>
            <p:ph type="title"/>
          </p:nvPr>
        </p:nvSpPr>
        <p:spPr>
          <a:xfrm>
            <a:off x="2111400" y="3364560"/>
            <a:ext cx="7729200" cy="118836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Thank</a:t>
            </a: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  </a:t>
            </a: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you</a:t>
            </a: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  </a:t>
            </a: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for</a:t>
            </a: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  </a:t>
            </a: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your</a:t>
            </a: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  </a:t>
            </a: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attention</a:t>
            </a: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!</a:t>
            </a:r>
            <a:endParaRPr lang="en-US" sz="3600" b="0" strike="noStrike" spc="-1" dirty="0">
              <a:solidFill>
                <a:srgbClr val="171616"/>
              </a:solidFill>
              <a:latin typeface="Trebuchet MS"/>
            </a:endParaRPr>
          </a:p>
        </p:txBody>
      </p:sp>
      <p:pic>
        <p:nvPicPr>
          <p:cNvPr id="254" name="Obrázek 5" descr="Obsah obrázku text, Písmo, logo, Grafika&#10;&#10;Popis byl vytvořen automaticky"/>
          <p:cNvPicPr/>
          <p:nvPr/>
        </p:nvPicPr>
        <p:blipFill>
          <a:blip r:embed="rId4"/>
          <a:stretch/>
        </p:blipFill>
        <p:spPr>
          <a:xfrm>
            <a:off x="3575880" y="4829400"/>
            <a:ext cx="3250800" cy="9435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1" name="Objekt 3" hidden="1"/>
          <p:cNvGraphicFramePr/>
          <p:nvPr>
            <p:extLst>
              <p:ext uri="{D42A27DB-BD31-4B8C-83A1-F6EECF244321}">
                <p14:modId xmlns:p14="http://schemas.microsoft.com/office/powerpoint/2010/main" val="3690254415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151" name="Objekt 3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>
                <a:solidFill>
                  <a:srgbClr val="171616"/>
                </a:solidFill>
                <a:latin typeface="Trebuchet MS"/>
              </a:rPr>
              <a:t>2021</a:t>
            </a:r>
            <a:endParaRPr lang="en-US" sz="3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54" name="PlaceHolder 2"/>
          <p:cNvSpPr>
            <a:spLocks noGrp="1"/>
          </p:cNvSpPr>
          <p:nvPr>
            <p:ph/>
          </p:nvPr>
        </p:nvSpPr>
        <p:spPr>
          <a:xfrm>
            <a:off x="654120" y="2697120"/>
            <a:ext cx="5796720" cy="31017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Šimonova diagnóza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Šimon’s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diagnosis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Myšlenka PO / Idea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of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patient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organization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Definování úkolů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Goals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determinati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Založení spolku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Founding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Hledání dalších pacientů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Looking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for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more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patients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Tvorba webových stránek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Creati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of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website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</p:txBody>
      </p:sp>
      <p:pic>
        <p:nvPicPr>
          <p:cNvPr id="155" name="Obrázek 12" descr="Obsah obrázku oblečení, osoba, boty, muž&#10;&#10;Popis byl vytvořen automaticky"/>
          <p:cNvPicPr/>
          <p:nvPr/>
        </p:nvPicPr>
        <p:blipFill>
          <a:blip r:embed="rId4"/>
          <a:stretch/>
        </p:blipFill>
        <p:spPr>
          <a:xfrm>
            <a:off x="6584940" y="2259360"/>
            <a:ext cx="2194560" cy="329400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sp>
        <p:nvSpPr>
          <p:cNvPr id="156" name="TextovéPole 5"/>
          <p:cNvSpPr/>
          <p:nvPr/>
        </p:nvSpPr>
        <p:spPr>
          <a:xfrm>
            <a:off x="7940052" y="2290100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Šimon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TextovéPole 6"/>
          <p:cNvSpPr/>
          <p:nvPr/>
        </p:nvSpPr>
        <p:spPr>
          <a:xfrm>
            <a:off x="9637920" y="2286000"/>
            <a:ext cx="2166120" cy="3371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Marek (</a:t>
            </a:r>
            <a:r>
              <a:rPr lang="cs-CZ" sz="1600" b="0" i="1" strike="noStrike" spc="-1" dirty="0" err="1">
                <a:solidFill>
                  <a:srgbClr val="171616"/>
                </a:solidFill>
                <a:latin typeface="Trebuchet MS"/>
              </a:rPr>
              <a:t>website</a:t>
            </a: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)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8" name="Obrázek 7" descr="Obsah obrázku venku, strom, tráva, rostlina&#10;&#10;Popis byl vytvořen automaticky"/>
          <p:cNvPicPr/>
          <p:nvPr/>
        </p:nvPicPr>
        <p:blipFill>
          <a:blip r:embed="rId5"/>
          <a:stretch/>
        </p:blipFill>
        <p:spPr>
          <a:xfrm>
            <a:off x="8946720" y="4488889"/>
            <a:ext cx="3046680" cy="175608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159" name="Obrázek 8" descr="Obsah obrázku Lidská tvář, tráva, osoba, venku&#10;&#10;Popis byl vytvořen automaticky"/>
          <p:cNvPicPr/>
          <p:nvPr/>
        </p:nvPicPr>
        <p:blipFill>
          <a:blip r:embed="rId6"/>
          <a:stretch/>
        </p:blipFill>
        <p:spPr>
          <a:xfrm>
            <a:off x="9929700" y="2697120"/>
            <a:ext cx="1080720" cy="159048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</p:spTree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" name="Objekt 2" hidden="1"/>
          <p:cNvGraphicFramePr/>
          <p:nvPr>
            <p:extLst>
              <p:ext uri="{D42A27DB-BD31-4B8C-83A1-F6EECF244321}">
                <p14:modId xmlns:p14="http://schemas.microsoft.com/office/powerpoint/2010/main" val="1087361199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160" name="Objekt 2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2" name="Obrázek 6" descr="Obsah obrázku Lidská tvář, osoba, oblečení, úsměv&#10;&#10;Popis byl vytvořen automaticky"/>
          <p:cNvPicPr/>
          <p:nvPr/>
        </p:nvPicPr>
        <p:blipFill>
          <a:blip r:embed="rId4"/>
          <a:stretch/>
        </p:blipFill>
        <p:spPr>
          <a:xfrm>
            <a:off x="341280" y="5058720"/>
            <a:ext cx="2024280" cy="151812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163" name="Obrázek 8" descr="Obsah obrázku osoba, venku, Lidská tvář, oblečení&#10;&#10;Popis byl vytvořen automaticky"/>
          <p:cNvPicPr/>
          <p:nvPr/>
        </p:nvPicPr>
        <p:blipFill>
          <a:blip r:embed="rId5"/>
          <a:stretch/>
        </p:blipFill>
        <p:spPr>
          <a:xfrm rot="10800000">
            <a:off x="3034440" y="5058720"/>
            <a:ext cx="2024280" cy="151812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sp>
        <p:nvSpPr>
          <p:cNvPr id="164" name="PlaceHolder 1"/>
          <p:cNvSpPr>
            <a:spLocks noGrp="1"/>
          </p:cNvSpPr>
          <p:nvPr>
            <p:ph type="title"/>
          </p:nvPr>
        </p:nvSpPr>
        <p:spPr>
          <a:xfrm>
            <a:off x="1853640" y="467640"/>
            <a:ext cx="7729200" cy="118836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>
                <a:solidFill>
                  <a:srgbClr val="171616"/>
                </a:solidFill>
                <a:latin typeface="Trebuchet MS"/>
              </a:rPr>
              <a:t>Zakladatelé / Founders</a:t>
            </a:r>
            <a:endParaRPr lang="en-US" sz="3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65" name="TextovéPole 45"/>
          <p:cNvSpPr/>
          <p:nvPr/>
        </p:nvSpPr>
        <p:spPr>
          <a:xfrm>
            <a:off x="521746" y="1984367"/>
            <a:ext cx="5025387" cy="42943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Michaela Houšková </a:t>
            </a:r>
            <a:r>
              <a:rPr lang="en-US" sz="2200" b="0" strike="noStrike" spc="-1" dirty="0">
                <a:solidFill>
                  <a:srgbClr val="171616"/>
                </a:solidFill>
                <a:latin typeface="Arial"/>
              </a:rPr>
              <a:t>&amp;</a:t>
            </a:r>
            <a:r>
              <a:rPr lang="en-US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V</a:t>
            </a:r>
            <a:r>
              <a:rPr lang="en-US" sz="2200" b="0" strike="noStrike" spc="-1" dirty="0" err="1">
                <a:solidFill>
                  <a:srgbClr val="171616"/>
                </a:solidFill>
                <a:latin typeface="Trebuchet MS"/>
              </a:rPr>
              <a:t>ladi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mír Houška</a:t>
            </a:r>
            <a:endParaRPr lang="cs-CZ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6" name="TextovéPole 46"/>
          <p:cNvSpPr/>
          <p:nvPr/>
        </p:nvSpPr>
        <p:spPr>
          <a:xfrm>
            <a:off x="8216541" y="2017761"/>
            <a:ext cx="2096077" cy="42943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Tomáš Hladík</a:t>
            </a:r>
            <a:endParaRPr lang="cs-CZ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7" name="Obrázek 12"/>
          <p:cNvSpPr/>
          <p:nvPr/>
        </p:nvSpPr>
        <p:spPr>
          <a:xfrm>
            <a:off x="560880" y="2413800"/>
            <a:ext cx="4141080" cy="2329200"/>
          </a:xfrm>
          <a:prstGeom prst="ellipse">
            <a:avLst/>
          </a:prstGeom>
          <a:blipFill rotWithShape="0">
            <a:blip r:embed="rId6"/>
            <a:srcRect/>
            <a:stretch/>
          </a:blipFill>
          <a:ln w="0">
            <a:noFill/>
          </a:ln>
          <a:effectLst>
            <a:softEdge rad="11268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" name="Obrázek 2" descr="Obsah obrázku Lidská tvář, osoba, oblečení, obloha&#10;&#10;Popis byl vytvořen automaticky">
            <a:extLst>
              <a:ext uri="{FF2B5EF4-FFF2-40B4-BE49-F238E27FC236}">
                <a16:creationId xmlns:a16="http://schemas.microsoft.com/office/drawing/2014/main" id="{3E0346A7-2887-82F3-D72A-6EF9DB598F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338" y="2413800"/>
            <a:ext cx="1592406" cy="353331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Obrázek 4" descr="Obsah obrázku oblečení, osoba, venku, kolo&#10;&#10;Popis byl vytvořen automaticky">
            <a:extLst>
              <a:ext uri="{FF2B5EF4-FFF2-40B4-BE49-F238E27FC236}">
                <a16:creationId xmlns:a16="http://schemas.microsoft.com/office/drawing/2014/main" id="{ACD1B278-C87C-2D22-FBE7-9CDCE2C252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4089" y="3041530"/>
            <a:ext cx="1592406" cy="35386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8" name="Objekt 3" hidden="1"/>
          <p:cNvGraphicFramePr/>
          <p:nvPr>
            <p:extLst>
              <p:ext uri="{D42A27DB-BD31-4B8C-83A1-F6EECF244321}">
                <p14:modId xmlns:p14="http://schemas.microsoft.com/office/powerpoint/2010/main" val="2040039822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168" name="Objekt 3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>
                <a:solidFill>
                  <a:srgbClr val="171616"/>
                </a:solidFill>
                <a:latin typeface="Trebuchet MS"/>
              </a:rPr>
              <a:t>2022</a:t>
            </a:r>
            <a:endParaRPr lang="en-US" sz="3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71" name="PlaceHolder 2"/>
          <p:cNvSpPr>
            <a:spLocks noGrp="1"/>
          </p:cNvSpPr>
          <p:nvPr>
            <p:ph/>
          </p:nvPr>
        </p:nvSpPr>
        <p:spPr>
          <a:xfrm>
            <a:off x="680400" y="2389320"/>
            <a:ext cx="7729200" cy="203176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Vytvoření pracovního týmu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Work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team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estabilishment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Získávání finančních prostředků / Fundraising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Členství v asociacích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Membership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in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associations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Setkávání členů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Meetings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of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members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</p:txBody>
      </p:sp>
      <p:pic>
        <p:nvPicPr>
          <p:cNvPr id="172" name="Picture 2"/>
          <p:cNvPicPr/>
          <p:nvPr/>
        </p:nvPicPr>
        <p:blipFill>
          <a:blip r:embed="rId4"/>
          <a:stretch/>
        </p:blipFill>
        <p:spPr>
          <a:xfrm>
            <a:off x="401040" y="4858200"/>
            <a:ext cx="1770480" cy="768600"/>
          </a:xfrm>
          <a:prstGeom prst="rect">
            <a:avLst/>
          </a:prstGeom>
          <a:ln w="0">
            <a:noFill/>
          </a:ln>
        </p:spPr>
      </p:pic>
      <p:pic>
        <p:nvPicPr>
          <p:cNvPr id="173" name="Picture 6"/>
          <p:cNvPicPr/>
          <p:nvPr/>
        </p:nvPicPr>
        <p:blipFill>
          <a:blip r:embed="rId5"/>
          <a:stretch/>
        </p:blipFill>
        <p:spPr>
          <a:xfrm>
            <a:off x="2332440" y="5911560"/>
            <a:ext cx="1514160" cy="542520"/>
          </a:xfrm>
          <a:prstGeom prst="rect">
            <a:avLst/>
          </a:prstGeom>
          <a:ln w="0">
            <a:noFill/>
          </a:ln>
        </p:spPr>
      </p:pic>
      <p:pic>
        <p:nvPicPr>
          <p:cNvPr id="174" name="Picture 8"/>
          <p:cNvPicPr/>
          <p:nvPr/>
        </p:nvPicPr>
        <p:blipFill>
          <a:blip r:embed="rId6"/>
          <a:stretch/>
        </p:blipFill>
        <p:spPr>
          <a:xfrm>
            <a:off x="4186080" y="5033520"/>
            <a:ext cx="2404080" cy="336240"/>
          </a:xfrm>
          <a:prstGeom prst="rect">
            <a:avLst/>
          </a:prstGeom>
          <a:ln w="0">
            <a:noFill/>
          </a:ln>
        </p:spPr>
      </p:pic>
      <p:pic>
        <p:nvPicPr>
          <p:cNvPr id="175" name="Picture 10"/>
          <p:cNvPicPr/>
          <p:nvPr/>
        </p:nvPicPr>
        <p:blipFill>
          <a:blip r:embed="rId7"/>
          <a:stretch/>
        </p:blipFill>
        <p:spPr>
          <a:xfrm>
            <a:off x="6487560" y="5911560"/>
            <a:ext cx="1770480" cy="719640"/>
          </a:xfrm>
          <a:prstGeom prst="rect">
            <a:avLst/>
          </a:prstGeom>
          <a:ln w="0">
            <a:noFill/>
          </a:ln>
        </p:spPr>
      </p:pic>
      <p:pic>
        <p:nvPicPr>
          <p:cNvPr id="176" name="Picture 12"/>
          <p:cNvPicPr/>
          <p:nvPr/>
        </p:nvPicPr>
        <p:blipFill>
          <a:blip r:embed="rId8"/>
          <a:stretch/>
        </p:blipFill>
        <p:spPr>
          <a:xfrm>
            <a:off x="8861400" y="3571920"/>
            <a:ext cx="720720" cy="727560"/>
          </a:xfrm>
          <a:prstGeom prst="rect">
            <a:avLst/>
          </a:prstGeom>
          <a:ln w="0">
            <a:noFill/>
          </a:ln>
        </p:spPr>
      </p:pic>
      <p:sp>
        <p:nvSpPr>
          <p:cNvPr id="177" name="TextovéPole 11"/>
          <p:cNvSpPr/>
          <p:nvPr/>
        </p:nvSpPr>
        <p:spPr>
          <a:xfrm>
            <a:off x="9943560" y="2602080"/>
            <a:ext cx="1451880" cy="576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</a:pPr>
            <a:r>
              <a:rPr lang="cs-CZ" sz="1600" b="0" i="1" strike="noStrike" spc="-1">
                <a:solidFill>
                  <a:srgbClr val="171616"/>
                </a:solidFill>
                <a:latin typeface="Trebuchet MS"/>
              </a:rPr>
              <a:t>Lenka (Supervision)</a:t>
            </a:r>
            <a:endParaRPr lang="cs-CZ" sz="16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78" name="Obrázek 10" descr="Obsah obrázku osoba, oblečení, Lidská tvář, zeď&#10;&#10;Popis byl vytvořen automaticky"/>
          <p:cNvPicPr/>
          <p:nvPr/>
        </p:nvPicPr>
        <p:blipFill>
          <a:blip r:embed="rId9"/>
          <a:stretch/>
        </p:blipFill>
        <p:spPr>
          <a:xfrm>
            <a:off x="9896040" y="3216960"/>
            <a:ext cx="1547280" cy="18165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</p:spTree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9" name="Objekt 2" hidden="1"/>
          <p:cNvGraphicFramePr/>
          <p:nvPr>
            <p:extLst>
              <p:ext uri="{D42A27DB-BD31-4B8C-83A1-F6EECF244321}">
                <p14:modId xmlns:p14="http://schemas.microsoft.com/office/powerpoint/2010/main" val="1670029103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179" name="Objekt 2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1" name="Srdce 32"/>
          <p:cNvSpPr/>
          <p:nvPr/>
        </p:nvSpPr>
        <p:spPr>
          <a:xfrm>
            <a:off x="3503520" y="2354400"/>
            <a:ext cx="4291920" cy="4112280"/>
          </a:xfrm>
          <a:prstGeom prst="heart">
            <a:avLst/>
          </a:prstGeom>
          <a:gradFill rotWithShape="0">
            <a:gsLst>
              <a:gs pos="0">
                <a:srgbClr val="E44951"/>
              </a:gs>
              <a:gs pos="100000">
                <a:srgbClr val="FFFFFF"/>
              </a:gs>
            </a:gsLst>
            <a:lin ang="18900000"/>
          </a:gradFill>
          <a:ln w="63500">
            <a:noFill/>
          </a:ln>
          <a:effectLst>
            <a:glow rad="228600">
              <a:srgbClr val="C51D26">
                <a:alpha val="40000"/>
              </a:srgbClr>
            </a:glow>
            <a:innerShdw blurRad="63500" dist="50800" dir="8100000">
              <a:schemeClr val="accent1">
                <a:lumMod val="75000"/>
                <a:alpha val="50000"/>
              </a:schemeClr>
            </a:innerShdw>
          </a:effectLst>
          <a:scene3d>
            <a:camera prst="orthographicFront"/>
            <a:lightRig rig="fla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cs-CZ" sz="1800" b="0" strike="noStrike" spc="-1">
              <a:solidFill>
                <a:schemeClr val="lt1"/>
              </a:solidFill>
              <a:latin typeface="Trebuchet MS"/>
            </a:endParaRPr>
          </a:p>
        </p:txBody>
      </p:sp>
      <p:sp>
        <p:nvSpPr>
          <p:cNvPr id="182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Pracovní tým / </a:t>
            </a: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Our</a:t>
            </a: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 team</a:t>
            </a:r>
            <a:endParaRPr lang="en-US" sz="3600" b="0" strike="noStrike" spc="-1" dirty="0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183" name="Obrázek 4"/>
          <p:cNvSpPr/>
          <p:nvPr/>
        </p:nvSpPr>
        <p:spPr>
          <a:xfrm>
            <a:off x="4714560" y="3496320"/>
            <a:ext cx="1847520" cy="1837080"/>
          </a:xfrm>
          <a:prstGeom prst="ellipse">
            <a:avLst/>
          </a:prstGeom>
          <a:blipFill rotWithShape="0">
            <a:blip r:embed="rId4"/>
            <a:srcRect/>
            <a:stretch/>
          </a:blipFill>
          <a:ln w="0">
            <a:noFill/>
          </a:ln>
          <a:effectLst>
            <a:softEdge rad="11268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4" name="Obrázek 6"/>
          <p:cNvSpPr/>
          <p:nvPr/>
        </p:nvSpPr>
        <p:spPr>
          <a:xfrm>
            <a:off x="2953800" y="2034720"/>
            <a:ext cx="1877400" cy="1055880"/>
          </a:xfrm>
          <a:prstGeom prst="ellipse">
            <a:avLst/>
          </a:prstGeom>
          <a:blipFill rotWithShape="0">
            <a:blip r:embed="rId5"/>
            <a:srcRect/>
            <a:stretch/>
          </a:blipFill>
          <a:ln w="0">
            <a:noFill/>
          </a:ln>
          <a:effectLst>
            <a:softEdge rad="11268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5" name="Obrázek 8"/>
          <p:cNvSpPr/>
          <p:nvPr/>
        </p:nvSpPr>
        <p:spPr>
          <a:xfrm>
            <a:off x="6359625" y="2052231"/>
            <a:ext cx="1877400" cy="1055880"/>
          </a:xfrm>
          <a:prstGeom prst="ellipse">
            <a:avLst/>
          </a:prstGeom>
          <a:blipFill rotWithShape="0">
            <a:blip r:embed="rId6"/>
            <a:srcRect/>
            <a:stretch/>
          </a:blipFill>
          <a:ln w="0">
            <a:noFill/>
          </a:ln>
          <a:effectLst>
            <a:softEdge rad="11268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6" name="Obrázek 10"/>
          <p:cNvSpPr/>
          <p:nvPr/>
        </p:nvSpPr>
        <p:spPr>
          <a:xfrm>
            <a:off x="2430720" y="3366720"/>
            <a:ext cx="1877400" cy="1055880"/>
          </a:xfrm>
          <a:prstGeom prst="ellipse">
            <a:avLst/>
          </a:prstGeom>
          <a:blipFill rotWithShape="0">
            <a:blip r:embed="rId7"/>
            <a:srcRect/>
            <a:stretch/>
          </a:blipFill>
          <a:ln w="0">
            <a:noFill/>
          </a:ln>
          <a:effectLst>
            <a:softEdge rad="11268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7" name="Obrázek 12"/>
          <p:cNvSpPr/>
          <p:nvPr/>
        </p:nvSpPr>
        <p:spPr>
          <a:xfrm>
            <a:off x="6968520" y="3360002"/>
            <a:ext cx="1877400" cy="1055880"/>
          </a:xfrm>
          <a:prstGeom prst="ellipse">
            <a:avLst/>
          </a:prstGeom>
          <a:blipFill rotWithShape="0">
            <a:blip r:embed="rId8"/>
            <a:srcRect/>
            <a:stretch/>
          </a:blipFill>
          <a:ln w="0">
            <a:noFill/>
          </a:ln>
          <a:effectLst>
            <a:softEdge rad="11268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8" name="Obrázek 14"/>
          <p:cNvPicPr/>
          <p:nvPr/>
        </p:nvPicPr>
        <p:blipFill>
          <a:blip r:embed="rId9"/>
          <a:stretch/>
        </p:blipFill>
        <p:spPr>
          <a:xfrm>
            <a:off x="85320" y="2037600"/>
            <a:ext cx="2194200" cy="163800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189" name="Obrázek 16"/>
          <p:cNvPicPr/>
          <p:nvPr/>
        </p:nvPicPr>
        <p:blipFill>
          <a:blip r:embed="rId10"/>
          <a:stretch/>
        </p:blipFill>
        <p:spPr>
          <a:xfrm>
            <a:off x="9264600" y="2155680"/>
            <a:ext cx="2135520" cy="160380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190" name="Obrázek 18"/>
          <p:cNvPicPr/>
          <p:nvPr/>
        </p:nvPicPr>
        <p:blipFill>
          <a:blip r:embed="rId11"/>
          <a:stretch/>
        </p:blipFill>
        <p:spPr>
          <a:xfrm>
            <a:off x="10975221" y="3735360"/>
            <a:ext cx="954288" cy="118332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sp>
        <p:nvSpPr>
          <p:cNvPr id="191" name="TextovéPole 37"/>
          <p:cNvSpPr/>
          <p:nvPr/>
        </p:nvSpPr>
        <p:spPr>
          <a:xfrm>
            <a:off x="2592360" y="2016000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>
                <a:solidFill>
                  <a:srgbClr val="171616"/>
                </a:solidFill>
                <a:latin typeface="Trebuchet MS"/>
              </a:rPr>
              <a:t>Peťa</a:t>
            </a:r>
            <a:endParaRPr lang="cs-CZ" sz="16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2" name="TextovéPole 38"/>
          <p:cNvSpPr/>
          <p:nvPr/>
        </p:nvSpPr>
        <p:spPr>
          <a:xfrm>
            <a:off x="2396880" y="3183480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>
                <a:solidFill>
                  <a:srgbClr val="171616"/>
                </a:solidFill>
                <a:latin typeface="Trebuchet MS"/>
              </a:rPr>
              <a:t>Kuba</a:t>
            </a:r>
            <a:endParaRPr lang="cs-CZ" sz="16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3" name="TextovéPole 39"/>
          <p:cNvSpPr/>
          <p:nvPr/>
        </p:nvSpPr>
        <p:spPr>
          <a:xfrm>
            <a:off x="5987880" y="3429000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>
                <a:solidFill>
                  <a:srgbClr val="171616"/>
                </a:solidFill>
                <a:latin typeface="Trebuchet MS"/>
              </a:rPr>
              <a:t>Vláďa</a:t>
            </a:r>
            <a:endParaRPr lang="cs-CZ" sz="16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4" name="TextovéPole 40"/>
          <p:cNvSpPr/>
          <p:nvPr/>
        </p:nvSpPr>
        <p:spPr>
          <a:xfrm>
            <a:off x="4615560" y="3429000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>
                <a:solidFill>
                  <a:srgbClr val="171616"/>
                </a:solidFill>
                <a:latin typeface="Trebuchet MS"/>
              </a:rPr>
              <a:t>Míša</a:t>
            </a:r>
            <a:endParaRPr lang="cs-CZ" sz="16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5" name="TextovéPole 41"/>
          <p:cNvSpPr/>
          <p:nvPr/>
        </p:nvSpPr>
        <p:spPr>
          <a:xfrm>
            <a:off x="8245390" y="3360002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Tom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6" name="TextovéPole 42"/>
          <p:cNvSpPr/>
          <p:nvPr/>
        </p:nvSpPr>
        <p:spPr>
          <a:xfrm>
            <a:off x="7700577" y="2085731"/>
            <a:ext cx="759960" cy="576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Monča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7" name="TextovéPole 43"/>
          <p:cNvSpPr/>
          <p:nvPr/>
        </p:nvSpPr>
        <p:spPr>
          <a:xfrm>
            <a:off x="7960886" y="4680120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Kuba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TextovéPole 44"/>
          <p:cNvSpPr/>
          <p:nvPr/>
        </p:nvSpPr>
        <p:spPr>
          <a:xfrm>
            <a:off x="2408040" y="4585680"/>
            <a:ext cx="75996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>
                <a:solidFill>
                  <a:srgbClr val="171616"/>
                </a:solidFill>
                <a:latin typeface="Trebuchet MS"/>
              </a:rPr>
              <a:t>Lenka</a:t>
            </a:r>
            <a:endParaRPr lang="cs-CZ" sz="16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99" name="Obrázek 5" descr="Obsah obrázku oblečení, osoba, Lidská tvář, interiér&#10;&#10;Popis byl vytvořen automaticky"/>
          <p:cNvPicPr/>
          <p:nvPr/>
        </p:nvPicPr>
        <p:blipFill>
          <a:blip r:embed="rId12"/>
          <a:stretch/>
        </p:blipFill>
        <p:spPr>
          <a:xfrm>
            <a:off x="101160" y="3954960"/>
            <a:ext cx="1551240" cy="27579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sp>
        <p:nvSpPr>
          <p:cNvPr id="200" name="TextovéPole 7"/>
          <p:cNvSpPr/>
          <p:nvPr/>
        </p:nvSpPr>
        <p:spPr>
          <a:xfrm>
            <a:off x="5818418" y="5808600"/>
            <a:ext cx="996480" cy="3371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Tomáš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1" name="Obrázek 20"/>
          <p:cNvSpPr/>
          <p:nvPr/>
        </p:nvSpPr>
        <p:spPr>
          <a:xfrm>
            <a:off x="2692080" y="4755240"/>
            <a:ext cx="1734480" cy="1053360"/>
          </a:xfrm>
          <a:prstGeom prst="ellipse">
            <a:avLst/>
          </a:prstGeom>
          <a:blipFill rotWithShape="0">
            <a:blip r:embed="rId13"/>
            <a:srcRect/>
            <a:stretch/>
          </a:blipFill>
          <a:ln w="0">
            <a:noFill/>
          </a:ln>
          <a:effectLst>
            <a:softEdge rad="112680"/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cs-CZ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" name="Obrázek 6" descr="Obsah obrázku venku, osoba, Lidská tvář, strom&#10;&#10;Popis byl vytvořen automaticky">
            <a:extLst>
              <a:ext uri="{FF2B5EF4-FFF2-40B4-BE49-F238E27FC236}">
                <a16:creationId xmlns:a16="http://schemas.microsoft.com/office/drawing/2014/main" id="{8F544CA3-6510-B079-F30F-FB4E52EEBF4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386" y="4793348"/>
            <a:ext cx="1877400" cy="101525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Obrázek 8" descr="Obsah obrázku venku, oblečení, obloha, osoba&#10;&#10;Popis byl vytvořen automaticky">
            <a:extLst>
              <a:ext uri="{FF2B5EF4-FFF2-40B4-BE49-F238E27FC236}">
                <a16:creationId xmlns:a16="http://schemas.microsoft.com/office/drawing/2014/main" id="{6CC706CA-A8B5-62A1-5EE6-8D73B0E76CB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8609" y="4887478"/>
            <a:ext cx="2456325" cy="18422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Obrázek 2" descr="Obsah obrázku Lidská tvář, osoba, oblečení, obloha&#10;&#10;Popis byl vytvořen automaticky">
            <a:extLst>
              <a:ext uri="{FF2B5EF4-FFF2-40B4-BE49-F238E27FC236}">
                <a16:creationId xmlns:a16="http://schemas.microsoft.com/office/drawing/2014/main" id="{AF342362-DEB6-3934-1B36-08EA4EF6E16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2226" y="5288220"/>
            <a:ext cx="719477" cy="159641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2" name="Objekt 2" hidden="1"/>
          <p:cNvGraphicFramePr/>
          <p:nvPr>
            <p:extLst>
              <p:ext uri="{D42A27DB-BD31-4B8C-83A1-F6EECF244321}">
                <p14:modId xmlns:p14="http://schemas.microsoft.com/office/powerpoint/2010/main" val="1454003828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202" name="Objekt 2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>
                <a:solidFill>
                  <a:srgbClr val="171616"/>
                </a:solidFill>
                <a:latin typeface="Trebuchet MS"/>
              </a:rPr>
              <a:t>Setkávání členů / Meetings of members</a:t>
            </a:r>
            <a:endParaRPr lang="en-US" sz="3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05" name="PlaceHolder 2"/>
          <p:cNvSpPr>
            <a:spLocks noGrp="1"/>
          </p:cNvSpPr>
          <p:nvPr>
            <p:ph/>
          </p:nvPr>
        </p:nvSpPr>
        <p:spPr>
          <a:xfrm>
            <a:off x="332280" y="2087320"/>
            <a:ext cx="5968800" cy="216032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První setkání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Preliminary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meeting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Gastroth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2022 / Charity run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Gastroth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2022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1. velké setkání / 1</a:t>
            </a:r>
            <a:r>
              <a:rPr lang="cs-CZ" sz="2200" b="0" strike="noStrike" spc="-1" baseline="33000" dirty="0">
                <a:solidFill>
                  <a:srgbClr val="171616"/>
                </a:solidFill>
                <a:latin typeface="Trebuchet MS"/>
              </a:rPr>
              <a:t>st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meeting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28600" indent="-22860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Vánoční večírek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Christmas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party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</p:txBody>
      </p:sp>
      <p:pic>
        <p:nvPicPr>
          <p:cNvPr id="206" name="Obrázek 5"/>
          <p:cNvPicPr/>
          <p:nvPr/>
        </p:nvPicPr>
        <p:blipFill>
          <a:blip r:embed="rId4"/>
          <a:stretch/>
        </p:blipFill>
        <p:spPr>
          <a:xfrm>
            <a:off x="1309575" y="4416210"/>
            <a:ext cx="3052800" cy="228960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07" name="Obrázek 7"/>
          <p:cNvPicPr/>
          <p:nvPr/>
        </p:nvPicPr>
        <p:blipFill>
          <a:blip r:embed="rId5"/>
          <a:stretch/>
        </p:blipFill>
        <p:spPr>
          <a:xfrm>
            <a:off x="4843080" y="4081140"/>
            <a:ext cx="2094840" cy="279324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08" name="Obrázek 9"/>
          <p:cNvPicPr/>
          <p:nvPr/>
        </p:nvPicPr>
        <p:blipFill>
          <a:blip r:embed="rId6"/>
          <a:stretch/>
        </p:blipFill>
        <p:spPr>
          <a:xfrm>
            <a:off x="7043220" y="2230921"/>
            <a:ext cx="4965840" cy="279324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sp>
        <p:nvSpPr>
          <p:cNvPr id="209" name="TextovéPole 4"/>
          <p:cNvSpPr/>
          <p:nvPr/>
        </p:nvSpPr>
        <p:spPr>
          <a:xfrm>
            <a:off x="1306260" y="4501120"/>
            <a:ext cx="2562840" cy="3371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 err="1">
                <a:solidFill>
                  <a:srgbClr val="171616"/>
                </a:solidFill>
                <a:latin typeface="Trebuchet MS"/>
              </a:rPr>
              <a:t>Preliminary</a:t>
            </a: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 meeting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0" name="TextovéPole 6"/>
          <p:cNvSpPr/>
          <p:nvPr/>
        </p:nvSpPr>
        <p:spPr>
          <a:xfrm>
            <a:off x="4843080" y="4096307"/>
            <a:ext cx="188172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 err="1">
                <a:solidFill>
                  <a:srgbClr val="171616"/>
                </a:solidFill>
                <a:latin typeface="Trebuchet MS"/>
              </a:rPr>
              <a:t>Gastrothon</a:t>
            </a: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 2022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1" name="TextovéPole 8"/>
          <p:cNvSpPr/>
          <p:nvPr/>
        </p:nvSpPr>
        <p:spPr>
          <a:xfrm>
            <a:off x="7043220" y="2331695"/>
            <a:ext cx="1881720" cy="33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1600" b="0" i="1" strike="noStrike" spc="-1" dirty="0" err="1">
                <a:solidFill>
                  <a:srgbClr val="171616"/>
                </a:solidFill>
                <a:latin typeface="Trebuchet MS"/>
              </a:rPr>
              <a:t>Christmas</a:t>
            </a:r>
            <a:r>
              <a:rPr lang="cs-CZ" sz="1600" b="0" i="1" strike="noStrike" spc="-1" dirty="0">
                <a:solidFill>
                  <a:srgbClr val="171616"/>
                </a:solidFill>
                <a:latin typeface="Trebuchet MS"/>
              </a:rPr>
              <a:t> party</a:t>
            </a:r>
            <a:endParaRPr lang="cs-CZ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2" name="Obrázek 2"/>
          <p:cNvPicPr/>
          <p:nvPr/>
        </p:nvPicPr>
        <p:blipFill>
          <a:blip r:embed="rId2"/>
          <a:stretch/>
        </p:blipFill>
        <p:spPr>
          <a:xfrm>
            <a:off x="3057840" y="1977120"/>
            <a:ext cx="5040720" cy="30297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13" name="Obrázek 4"/>
          <p:cNvPicPr/>
          <p:nvPr/>
        </p:nvPicPr>
        <p:blipFill>
          <a:blip r:embed="rId3"/>
          <a:stretch/>
        </p:blipFill>
        <p:spPr>
          <a:xfrm>
            <a:off x="10028160" y="125280"/>
            <a:ext cx="1791000" cy="13431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14" name="Obrázek 6"/>
          <p:cNvPicPr/>
          <p:nvPr/>
        </p:nvPicPr>
        <p:blipFill>
          <a:blip r:embed="rId4"/>
          <a:stretch/>
        </p:blipFill>
        <p:spPr>
          <a:xfrm>
            <a:off x="175346" y="2517048"/>
            <a:ext cx="2495160" cy="188820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15" name="Obrázek 8"/>
          <p:cNvPicPr/>
          <p:nvPr/>
        </p:nvPicPr>
        <p:blipFill>
          <a:blip r:embed="rId5"/>
          <a:stretch/>
        </p:blipFill>
        <p:spPr>
          <a:xfrm>
            <a:off x="349797" y="930168"/>
            <a:ext cx="2115720" cy="158688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16" name="Obrázek 10"/>
          <p:cNvPicPr/>
          <p:nvPr/>
        </p:nvPicPr>
        <p:blipFill>
          <a:blip r:embed="rId6"/>
          <a:stretch/>
        </p:blipFill>
        <p:spPr>
          <a:xfrm>
            <a:off x="3037747" y="5009759"/>
            <a:ext cx="2377632" cy="1765775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17" name="Obrázek 12"/>
          <p:cNvPicPr/>
          <p:nvPr/>
        </p:nvPicPr>
        <p:blipFill>
          <a:blip r:embed="rId7"/>
          <a:stretch/>
        </p:blipFill>
        <p:spPr>
          <a:xfrm>
            <a:off x="4401317" y="313560"/>
            <a:ext cx="2092680" cy="156924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18" name="Obrázek 14"/>
          <p:cNvPicPr/>
          <p:nvPr/>
        </p:nvPicPr>
        <p:blipFill>
          <a:blip r:embed="rId8"/>
          <a:stretch/>
        </p:blipFill>
        <p:spPr>
          <a:xfrm rot="5400000">
            <a:off x="7856338" y="2275740"/>
            <a:ext cx="2388240" cy="179100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19" name="Obrázek 16"/>
          <p:cNvPicPr/>
          <p:nvPr/>
        </p:nvPicPr>
        <p:blipFill>
          <a:blip r:embed="rId9"/>
          <a:stretch/>
        </p:blipFill>
        <p:spPr>
          <a:xfrm>
            <a:off x="9929520" y="1752120"/>
            <a:ext cx="1987560" cy="14907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0" name="Obrázek 18"/>
          <p:cNvPicPr/>
          <p:nvPr/>
        </p:nvPicPr>
        <p:blipFill>
          <a:blip r:embed="rId10"/>
          <a:stretch/>
        </p:blipFill>
        <p:spPr>
          <a:xfrm>
            <a:off x="10028160" y="4583160"/>
            <a:ext cx="1806120" cy="200484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1" name="Obrázek 20"/>
          <p:cNvPicPr/>
          <p:nvPr/>
        </p:nvPicPr>
        <p:blipFill>
          <a:blip r:embed="rId11"/>
          <a:stretch/>
        </p:blipFill>
        <p:spPr>
          <a:xfrm>
            <a:off x="2513138" y="545916"/>
            <a:ext cx="1359720" cy="143748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2" name="Obrázek 22"/>
          <p:cNvPicPr/>
          <p:nvPr/>
        </p:nvPicPr>
        <p:blipFill>
          <a:blip r:embed="rId12"/>
          <a:stretch/>
        </p:blipFill>
        <p:spPr>
          <a:xfrm>
            <a:off x="8647718" y="168840"/>
            <a:ext cx="1285200" cy="17139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3" name="Obrázek 24"/>
          <p:cNvPicPr/>
          <p:nvPr/>
        </p:nvPicPr>
        <p:blipFill>
          <a:blip r:embed="rId13"/>
          <a:stretch/>
        </p:blipFill>
        <p:spPr>
          <a:xfrm>
            <a:off x="6691636" y="220860"/>
            <a:ext cx="1860840" cy="139572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4" name="Obrázek 26"/>
          <p:cNvPicPr/>
          <p:nvPr/>
        </p:nvPicPr>
        <p:blipFill>
          <a:blip r:embed="rId14"/>
          <a:stretch/>
        </p:blipFill>
        <p:spPr>
          <a:xfrm>
            <a:off x="10028160" y="8208000"/>
            <a:ext cx="1279440" cy="117828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5" name="Obrázek 28"/>
          <p:cNvPicPr/>
          <p:nvPr/>
        </p:nvPicPr>
        <p:blipFill>
          <a:blip r:embed="rId15"/>
          <a:stretch/>
        </p:blipFill>
        <p:spPr>
          <a:xfrm>
            <a:off x="246898" y="4451604"/>
            <a:ext cx="2647221" cy="2206648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6" name="Obrázek 30"/>
          <p:cNvPicPr/>
          <p:nvPr/>
        </p:nvPicPr>
        <p:blipFill>
          <a:blip r:embed="rId16"/>
          <a:stretch/>
        </p:blipFill>
        <p:spPr>
          <a:xfrm>
            <a:off x="5749771" y="5152728"/>
            <a:ext cx="1751860" cy="1285356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7" name="Obrázek 32"/>
          <p:cNvPicPr/>
          <p:nvPr/>
        </p:nvPicPr>
        <p:blipFill>
          <a:blip r:embed="rId17"/>
          <a:stretch/>
        </p:blipFill>
        <p:spPr>
          <a:xfrm>
            <a:off x="8174045" y="4344840"/>
            <a:ext cx="1860840" cy="248148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28" name="Obrázek 3" descr="Obsah obrázku osoba, oblečení, Lidská tvář, stůl&#10;&#10;Popis byl vytvořen automaticky"/>
          <p:cNvPicPr/>
          <p:nvPr/>
        </p:nvPicPr>
        <p:blipFill>
          <a:blip r:embed="rId14"/>
          <a:stretch/>
        </p:blipFill>
        <p:spPr>
          <a:xfrm>
            <a:off x="10606320" y="3286800"/>
            <a:ext cx="1360080" cy="125244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sp>
        <p:nvSpPr>
          <p:cNvPr id="229" name="TextovéPole 1"/>
          <p:cNvSpPr/>
          <p:nvPr/>
        </p:nvSpPr>
        <p:spPr>
          <a:xfrm>
            <a:off x="398490" y="82465"/>
            <a:ext cx="3980859" cy="460211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t">
            <a:spAutoFit/>
          </a:bodyPr>
          <a:lstStyle/>
          <a:p>
            <a:pPr>
              <a:lnSpc>
                <a:spcPct val="100000"/>
              </a:lnSpc>
            </a:pPr>
            <a:r>
              <a:rPr lang="cs-CZ" sz="2400" b="0" i="1" strike="noStrike" spc="-1" dirty="0">
                <a:solidFill>
                  <a:srgbClr val="171616"/>
                </a:solidFill>
                <a:latin typeface="Trebuchet MS"/>
              </a:rPr>
              <a:t>1</a:t>
            </a:r>
            <a:r>
              <a:rPr lang="cs-CZ" sz="2400" b="0" i="1" strike="noStrike" spc="-1" baseline="33000" dirty="0">
                <a:solidFill>
                  <a:srgbClr val="171616"/>
                </a:solidFill>
                <a:latin typeface="Trebuchet MS"/>
              </a:rPr>
              <a:t>st</a:t>
            </a:r>
            <a:r>
              <a:rPr lang="cs-CZ" sz="2400" b="0" i="1" strike="noStrike" spc="-1" dirty="0">
                <a:solidFill>
                  <a:srgbClr val="171616"/>
                </a:solidFill>
                <a:latin typeface="Trebuchet MS"/>
              </a:rPr>
              <a:t> meeting: Doksy 2022</a:t>
            </a:r>
            <a:endParaRPr lang="cs-CZ" sz="24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0" name="Objekt 3" hidden="1"/>
          <p:cNvGraphicFramePr/>
          <p:nvPr>
            <p:extLst>
              <p:ext uri="{D42A27DB-BD31-4B8C-83A1-F6EECF244321}">
                <p14:modId xmlns:p14="http://schemas.microsoft.com/office/powerpoint/2010/main" val="2535552596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TCLayout.ActiveDocument.1">
                  <p:embed/>
                </p:oleObj>
              </mc:Choice>
              <mc:Fallback>
                <p:oleObj name="think-cell Slide" r:id="rId2" imgW="0" imgH="0" progId="TCLayout.ActiveDocument.1">
                  <p:embed/>
                  <p:pic>
                    <p:nvPicPr>
                      <p:cNvPr id="230" name="Objekt 3" hidden="1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2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>
                <a:solidFill>
                  <a:srgbClr val="171616"/>
                </a:solidFill>
                <a:latin typeface="Trebuchet MS"/>
              </a:rPr>
              <a:t>2023</a:t>
            </a:r>
            <a:endParaRPr lang="en-US" sz="3600" b="0" strike="noStrike" spc="-1">
              <a:solidFill>
                <a:srgbClr val="171616"/>
              </a:solidFill>
              <a:latin typeface="Trebuchet MS"/>
            </a:endParaRPr>
          </a:p>
        </p:txBody>
      </p:sp>
      <p:sp>
        <p:nvSpPr>
          <p:cNvPr id="233" name="PlaceHolder 2"/>
          <p:cNvSpPr>
            <a:spLocks noGrp="1"/>
          </p:cNvSpPr>
          <p:nvPr>
            <p:ph/>
          </p:nvPr>
        </p:nvSpPr>
        <p:spPr>
          <a:xfrm>
            <a:off x="680400" y="2026041"/>
            <a:ext cx="9613440" cy="4658843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Jednání o získání schválené léčby do ČR (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Omaveloxol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) / 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indent="0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Negotiati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about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Omaveloxolone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  <a:tabLst>
                <a:tab pos="0" algn="l"/>
              </a:tabLst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Příprava účasti pacientů na studii NICOFA / 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indent="0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Preparati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for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participati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on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drug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study NICOFA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  <a:tabLst>
                <a:tab pos="0" algn="l"/>
              </a:tabLst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Sbírka na chodítka / Fundraising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for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rollator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walkers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  <a:tabLst>
                <a:tab pos="0" algn="l"/>
              </a:tabLst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2. setkání / 2</a:t>
            </a:r>
            <a:r>
              <a:rPr lang="cs-CZ" sz="2200" b="0" strike="noStrike" spc="-1" baseline="33000" dirty="0">
                <a:solidFill>
                  <a:srgbClr val="171616"/>
                </a:solidFill>
                <a:latin typeface="Trebuchet MS"/>
              </a:rPr>
              <a:t>nd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meeting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  <a:tabLst>
                <a:tab pos="0" algn="l"/>
              </a:tabLst>
            </a:pP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Gastroth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2023 / Charity run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Gastrotho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2023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  <a:tabLst>
                <a:tab pos="0" algn="l"/>
              </a:tabLst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Charitativní běh RUN </a:t>
            </a:r>
            <a:r>
              <a:rPr lang="en-US" sz="2200" b="0" strike="noStrike" spc="-1" dirty="0">
                <a:solidFill>
                  <a:srgbClr val="171616"/>
                </a:solidFill>
                <a:latin typeface="Arial"/>
              </a:rPr>
              <a:t>&amp;</a:t>
            </a:r>
            <a:r>
              <a:rPr lang="en-US" sz="2200" b="0" strike="noStrike" spc="-1" dirty="0">
                <a:solidFill>
                  <a:srgbClr val="171616"/>
                </a:solidFill>
                <a:latin typeface="Trebuchet MS"/>
              </a:rPr>
              <a:t> HELP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/ Charity run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RUN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en-US" sz="2200" b="0" strike="noStrike" spc="-1" dirty="0">
                <a:solidFill>
                  <a:srgbClr val="171616"/>
                </a:solidFill>
                <a:latin typeface="Arial"/>
              </a:rPr>
              <a:t>&amp;</a:t>
            </a:r>
            <a:r>
              <a:rPr lang="en-US" sz="2200" b="0" strike="noStrike" spc="-1" dirty="0">
                <a:solidFill>
                  <a:srgbClr val="171616"/>
                </a:solidFill>
                <a:latin typeface="Trebuchet MS"/>
              </a:rPr>
              <a:t> HELP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(fundraising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for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electric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tricycle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)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  <a:tabLst>
                <a:tab pos="0" algn="l"/>
              </a:tabLst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Stánek na neurologickém kongresu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Stand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at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neurology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congress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  <a:p>
            <a:pPr marL="219240" indent="-219240">
              <a:lnSpc>
                <a:spcPct val="90000"/>
              </a:lnSpc>
              <a:spcBef>
                <a:spcPts val="1001"/>
              </a:spcBef>
              <a:buClr>
                <a:srgbClr val="171616"/>
              </a:buClr>
              <a:buFont typeface="Wingdings" charset="2"/>
              <a:buChar char=""/>
              <a:tabLst>
                <a:tab pos="0" algn="l"/>
              </a:tabLst>
            </a:pP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Kontakt s FARA /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Contact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2200" b="0" strike="noStrike" spc="-1" dirty="0" err="1">
                <a:solidFill>
                  <a:srgbClr val="171616"/>
                </a:solidFill>
                <a:latin typeface="Trebuchet MS"/>
              </a:rPr>
              <a:t>with</a:t>
            </a:r>
            <a:r>
              <a:rPr lang="cs-CZ" sz="2200" b="0" strike="noStrike" spc="-1" dirty="0">
                <a:solidFill>
                  <a:srgbClr val="171616"/>
                </a:solidFill>
                <a:latin typeface="Trebuchet MS"/>
              </a:rPr>
              <a:t> FARA  💖</a:t>
            </a:r>
            <a:endParaRPr lang="en-US" sz="2200" b="0" strike="noStrike" spc="-1" dirty="0">
              <a:solidFill>
                <a:srgbClr val="171616"/>
              </a:solidFill>
              <a:latin typeface="Trebuchet MS"/>
            </a:endParaRPr>
          </a:p>
        </p:txBody>
      </p:sp>
      <p:pic>
        <p:nvPicPr>
          <p:cNvPr id="234" name="Obrázek 5" descr="Obsah obrázku oblečení, osoba, boty, interiér&#10;&#10;Popis byl vytvořen automaticky"/>
          <p:cNvPicPr/>
          <p:nvPr/>
        </p:nvPicPr>
        <p:blipFill>
          <a:blip r:embed="rId4"/>
          <a:stretch/>
        </p:blipFill>
        <p:spPr>
          <a:xfrm>
            <a:off x="8847549" y="2230228"/>
            <a:ext cx="1277640" cy="227088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35" name="Obrázek 7" descr="Obsah obrázku oblečení, venku, osoba, boty&#10;&#10;Popis byl vytvořen automaticky"/>
          <p:cNvPicPr/>
          <p:nvPr/>
        </p:nvPicPr>
        <p:blipFill>
          <a:blip r:embed="rId5"/>
          <a:stretch/>
        </p:blipFill>
        <p:spPr>
          <a:xfrm>
            <a:off x="10410913" y="2230228"/>
            <a:ext cx="1277640" cy="22719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</p:spTree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6" name="Objekt 3" hidden="1"/>
          <p:cNvGraphicFramePr/>
          <p:nvPr>
            <p:extLst>
              <p:ext uri="{D42A27DB-BD31-4B8C-83A1-F6EECF244321}">
                <p14:modId xmlns:p14="http://schemas.microsoft.com/office/powerpoint/2010/main" val="165296556"/>
              </p:ext>
            </p:extLst>
          </p:nvPr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36" name="Objekt 3" hidden="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8" name="PlaceHolder 1"/>
          <p:cNvSpPr>
            <a:spLocks noGrp="1"/>
          </p:cNvSpPr>
          <p:nvPr>
            <p:ph type="title"/>
          </p:nvPr>
        </p:nvSpPr>
        <p:spPr>
          <a:xfrm>
            <a:off x="680400" y="753120"/>
            <a:ext cx="9613440" cy="1080720"/>
          </a:xfrm>
          <a:prstGeom prst="rect">
            <a:avLst/>
          </a:prstGeom>
          <a:noFill/>
          <a:ln w="0">
            <a:noFill/>
          </a:ln>
        </p:spPr>
        <p:txBody>
          <a:bodyPr vert="horz" anchor="ctr">
            <a:noAutofit/>
          </a:bodyPr>
          <a:lstStyle/>
          <a:p>
            <a:pPr indent="0">
              <a:lnSpc>
                <a:spcPct val="90000"/>
              </a:lnSpc>
              <a:buNone/>
            </a:pP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Volný čas / Free </a:t>
            </a: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time</a:t>
            </a:r>
            <a:r>
              <a:rPr lang="cs-CZ" sz="3600" b="0" strike="noStrike" spc="-1" dirty="0">
                <a:solidFill>
                  <a:srgbClr val="171616"/>
                </a:solidFill>
                <a:latin typeface="Trebuchet MS"/>
              </a:rPr>
              <a:t> </a:t>
            </a:r>
            <a:r>
              <a:rPr lang="cs-CZ" sz="3600" b="0" strike="noStrike" spc="-1" dirty="0" err="1">
                <a:solidFill>
                  <a:srgbClr val="171616"/>
                </a:solidFill>
                <a:latin typeface="Trebuchet MS"/>
              </a:rPr>
              <a:t>activities</a:t>
            </a:r>
            <a:endParaRPr lang="en-US" sz="3600" b="0" strike="noStrike" spc="-1" dirty="0">
              <a:solidFill>
                <a:srgbClr val="171616"/>
              </a:solidFill>
              <a:latin typeface="Trebuchet MS"/>
            </a:endParaRPr>
          </a:p>
        </p:txBody>
      </p:sp>
      <p:pic>
        <p:nvPicPr>
          <p:cNvPr id="239" name="Obrázek 23" descr="Obsah obrázku venku, voda, strom, obloha&#10;&#10;Popis byl vytvořen automaticky"/>
          <p:cNvPicPr/>
          <p:nvPr/>
        </p:nvPicPr>
        <p:blipFill>
          <a:blip r:embed="rId5"/>
          <a:stretch/>
        </p:blipFill>
        <p:spPr>
          <a:xfrm>
            <a:off x="9658718" y="5021086"/>
            <a:ext cx="2367000" cy="17751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0" name="Obrázek 25" descr="Obsah obrázku osoba, pneumatika, vozidlo, Pozemní vozidlo&#10;&#10;Popis byl vytvořen automaticky"/>
          <p:cNvPicPr/>
          <p:nvPr/>
        </p:nvPicPr>
        <p:blipFill>
          <a:blip r:embed="rId6"/>
          <a:stretch/>
        </p:blipFill>
        <p:spPr>
          <a:xfrm>
            <a:off x="3929040" y="4239000"/>
            <a:ext cx="1698480" cy="22647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1" name="Obrázek 4" descr="Obsah obrázku kolo, venku, Pozemní vozidlo, vozidlo&#10;&#10;Popis byl vytvořen automaticky"/>
          <p:cNvPicPr/>
          <p:nvPr/>
        </p:nvPicPr>
        <p:blipFill>
          <a:blip r:embed="rId7"/>
          <a:stretch/>
        </p:blipFill>
        <p:spPr>
          <a:xfrm>
            <a:off x="2036880" y="4534200"/>
            <a:ext cx="1698480" cy="22647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2" name="Obrázek 5" descr="Obsah obrázku venku, tráva, Kola jízdních kol, strom&#10;&#10;Popis byl vytvořen automaticky"/>
          <p:cNvPicPr/>
          <p:nvPr/>
        </p:nvPicPr>
        <p:blipFill>
          <a:blip r:embed="rId8"/>
          <a:stretch/>
        </p:blipFill>
        <p:spPr>
          <a:xfrm flipH="1">
            <a:off x="2373840" y="2527200"/>
            <a:ext cx="1509120" cy="201744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3" name="Obrázek 8" descr="Obsah obrázku venku, silnice, kolo, obloha&#10;&#10;Popis byl vytvořen automaticky"/>
          <p:cNvPicPr/>
          <p:nvPr/>
        </p:nvPicPr>
        <p:blipFill>
          <a:blip r:embed="rId9"/>
          <a:stretch/>
        </p:blipFill>
        <p:spPr>
          <a:xfrm>
            <a:off x="5676080" y="2196752"/>
            <a:ext cx="2320560" cy="13377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4" name="Obrázek 7" descr="Obsah obrázku sníh, venku, osoba, boty&#10;&#10;Popis byl vytvořen automaticky"/>
          <p:cNvPicPr/>
          <p:nvPr/>
        </p:nvPicPr>
        <p:blipFill>
          <a:blip r:embed="rId10"/>
          <a:stretch/>
        </p:blipFill>
        <p:spPr>
          <a:xfrm>
            <a:off x="5736240" y="3675240"/>
            <a:ext cx="2270880" cy="15159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5" name="Obrázek 11" descr="Obsah obrázku venku, kolo, přeprava, obloha&#10;&#10;Popis byl vytvořen automaticky"/>
          <p:cNvPicPr/>
          <p:nvPr/>
        </p:nvPicPr>
        <p:blipFill>
          <a:blip r:embed="rId11"/>
          <a:stretch/>
        </p:blipFill>
        <p:spPr>
          <a:xfrm>
            <a:off x="3990320" y="2082572"/>
            <a:ext cx="1509120" cy="201204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6" name="Obrázek 13" descr="Obsah obrázku venku, osoba, strom, boty&#10;&#10;Popis byl vytvořen automaticky"/>
          <p:cNvPicPr/>
          <p:nvPr/>
        </p:nvPicPr>
        <p:blipFill>
          <a:blip r:embed="rId12"/>
          <a:stretch/>
        </p:blipFill>
        <p:spPr>
          <a:xfrm>
            <a:off x="9864115" y="2576965"/>
            <a:ext cx="1033566" cy="2315068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7" name="Obrázek 15"/>
          <p:cNvPicPr/>
          <p:nvPr/>
        </p:nvPicPr>
        <p:blipFill>
          <a:blip r:embed="rId13"/>
          <a:stretch/>
        </p:blipFill>
        <p:spPr>
          <a:xfrm>
            <a:off x="11071920" y="2101648"/>
            <a:ext cx="1033567" cy="2137352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8" name="Obrázek 19" descr="Obsah obrázku venku, tráva, obloha, kobyla&#10;&#10;Popis byl vytvořen automaticky"/>
          <p:cNvPicPr/>
          <p:nvPr/>
        </p:nvPicPr>
        <p:blipFill>
          <a:blip r:embed="rId14"/>
          <a:stretch/>
        </p:blipFill>
        <p:spPr>
          <a:xfrm>
            <a:off x="110520" y="3589200"/>
            <a:ext cx="1955160" cy="260712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49" name="Obrázek 21" descr="Obsah obrázku osoba, venku, oblečení, zmrzlina&#10;&#10;Popis byl vytvořen automaticky"/>
          <p:cNvPicPr/>
          <p:nvPr/>
        </p:nvPicPr>
        <p:blipFill>
          <a:blip r:embed="rId15"/>
          <a:stretch/>
        </p:blipFill>
        <p:spPr>
          <a:xfrm>
            <a:off x="10940040" y="704520"/>
            <a:ext cx="883080" cy="117756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250" name="Obrázek 24" descr="Obsah obrázku venku, osoba, obloha, oblečení&#10;&#10;Popis byl vytvořen automaticky"/>
          <p:cNvPicPr/>
          <p:nvPr/>
        </p:nvPicPr>
        <p:blipFill>
          <a:blip r:embed="rId16"/>
          <a:stretch/>
        </p:blipFill>
        <p:spPr>
          <a:xfrm>
            <a:off x="176040" y="2097720"/>
            <a:ext cx="2235600" cy="1491120"/>
          </a:xfrm>
          <a:prstGeom prst="rect">
            <a:avLst/>
          </a:prstGeom>
          <a:ln w="0">
            <a:noFill/>
          </a:ln>
          <a:effectLst>
            <a:softEdge rad="112680"/>
          </a:effectLst>
        </p:spPr>
      </p:pic>
      <p:pic>
        <p:nvPicPr>
          <p:cNvPr id="5" name="Obrázek 4" descr="Obsah obrázku venku, strom, obloha, rostlina&#10;&#10;Popis byl vytvořen automaticky">
            <a:extLst>
              <a:ext uri="{FF2B5EF4-FFF2-40B4-BE49-F238E27FC236}">
                <a16:creationId xmlns:a16="http://schemas.microsoft.com/office/drawing/2014/main" id="{33C39493-4604-4A7A-DEFD-3DD637D568C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8640" y="5125442"/>
            <a:ext cx="2101437" cy="15718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Obrázek 6" descr="Obsah obrázku osoba, oblečení, venku, strom&#10;&#10;Popis byl vytvořen automaticky">
            <a:extLst>
              <a:ext uri="{FF2B5EF4-FFF2-40B4-BE49-F238E27FC236}">
                <a16:creationId xmlns:a16="http://schemas.microsoft.com/office/drawing/2014/main" id="{4BC6C61A-9742-AE8E-706F-6DB43844539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3920" y="2127601"/>
            <a:ext cx="1371981" cy="18341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Obrázek 10" descr="Obsah obrázku venku, sníh, osoba, sportovní vybavení&#10;&#10;Popis byl vytvořen automaticky">
            <a:extLst>
              <a:ext uri="{FF2B5EF4-FFF2-40B4-BE49-F238E27FC236}">
                <a16:creationId xmlns:a16="http://schemas.microsoft.com/office/drawing/2014/main" id="{FF114DA5-AD9A-ADFB-F2D3-67CA4E1BA9B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1520" y="5354798"/>
            <a:ext cx="1927343" cy="12866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" name="Obrázek 2" descr="Obsah obrázku venku, obloha, osoba, oblečení&#10;&#10;Popis byl vytvořen automaticky">
            <a:extLst>
              <a:ext uri="{FF2B5EF4-FFF2-40B4-BE49-F238E27FC236}">
                <a16:creationId xmlns:a16="http://schemas.microsoft.com/office/drawing/2014/main" id="{2C3BABDC-0933-25AE-C836-569CD169D80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4206" y="3913091"/>
            <a:ext cx="1616468" cy="12123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Berlín">
  <a:themeElements>
    <a:clrScheme name="Vlastní 13">
      <a:dk1>
        <a:srgbClr val="40AFFF"/>
      </a:dk1>
      <a:lt1>
        <a:srgbClr val="008BEF"/>
      </a:lt1>
      <a:dk2>
        <a:srgbClr val="D7F5FA"/>
      </a:dk2>
      <a:lt2>
        <a:srgbClr val="E7E6E6"/>
      </a:lt2>
      <a:accent1>
        <a:srgbClr val="F64353"/>
      </a:accent1>
      <a:accent2>
        <a:srgbClr val="60DE72"/>
      </a:accent2>
      <a:accent3>
        <a:srgbClr val="DDCC64"/>
      </a:accent3>
      <a:accent4>
        <a:srgbClr val="F49D50"/>
      </a:accent4>
      <a:accent5>
        <a:srgbClr val="E44951"/>
      </a:accent5>
      <a:accent6>
        <a:srgbClr val="D666F9"/>
      </a:accent6>
      <a:hlink>
        <a:srgbClr val="4BF7ED"/>
      </a:hlink>
      <a:folHlink>
        <a:srgbClr val="95E9F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rlín">
  <a:themeElements>
    <a:clrScheme name="Vlastní 13">
      <a:dk1>
        <a:srgbClr val="40AFFF"/>
      </a:dk1>
      <a:lt1>
        <a:srgbClr val="008BEF"/>
      </a:lt1>
      <a:dk2>
        <a:srgbClr val="D7F5FA"/>
      </a:dk2>
      <a:lt2>
        <a:srgbClr val="E7E6E6"/>
      </a:lt2>
      <a:accent1>
        <a:srgbClr val="F64353"/>
      </a:accent1>
      <a:accent2>
        <a:srgbClr val="60DE72"/>
      </a:accent2>
      <a:accent3>
        <a:srgbClr val="DDCC64"/>
      </a:accent3>
      <a:accent4>
        <a:srgbClr val="F49D50"/>
      </a:accent4>
      <a:accent5>
        <a:srgbClr val="E44951"/>
      </a:accent5>
      <a:accent6>
        <a:srgbClr val="D666F9"/>
      </a:accent6>
      <a:hlink>
        <a:srgbClr val="4BF7ED"/>
      </a:hlink>
      <a:folHlink>
        <a:srgbClr val="95E9F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erlín">
  <a:themeElements>
    <a:clrScheme name="Vlastní 13">
      <a:dk1>
        <a:srgbClr val="40AFFF"/>
      </a:dk1>
      <a:lt1>
        <a:srgbClr val="008BEF"/>
      </a:lt1>
      <a:dk2>
        <a:srgbClr val="D7F5FA"/>
      </a:dk2>
      <a:lt2>
        <a:srgbClr val="E7E6E6"/>
      </a:lt2>
      <a:accent1>
        <a:srgbClr val="F64353"/>
      </a:accent1>
      <a:accent2>
        <a:srgbClr val="60DE72"/>
      </a:accent2>
      <a:accent3>
        <a:srgbClr val="DDCC64"/>
      </a:accent3>
      <a:accent4>
        <a:srgbClr val="F49D50"/>
      </a:accent4>
      <a:accent5>
        <a:srgbClr val="E44951"/>
      </a:accent5>
      <a:accent6>
        <a:srgbClr val="D666F9"/>
      </a:accent6>
      <a:hlink>
        <a:srgbClr val="4BF7ED"/>
      </a:hlink>
      <a:folHlink>
        <a:srgbClr val="95E9F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D7F5FA"/>
      </a:dk2>
      <a:lt2>
        <a:srgbClr val="E7E6E6"/>
      </a:lt2>
      <a:accent1>
        <a:srgbClr val="E44951"/>
      </a:accent1>
      <a:accent2>
        <a:srgbClr val="60DE72"/>
      </a:accent2>
      <a:accent3>
        <a:srgbClr val="DDCC64"/>
      </a:accent3>
      <a:accent4>
        <a:srgbClr val="F49D50"/>
      </a:accent4>
      <a:accent5>
        <a:srgbClr val="E44951"/>
      </a:accent5>
      <a:accent6>
        <a:srgbClr val="D666F9"/>
      </a:accent6>
      <a:hlink>
        <a:srgbClr val="4BF7ED"/>
      </a:hlink>
      <a:folHlink>
        <a:srgbClr val="95E9F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12700" cap="flat" cmpd="sng" algn="ctr">
          <a:solidFill>
            <a:schemeClr val="phClr"/>
          </a:solidFill>
          <a:prstDash val="solid"/>
          <a:miter/>
        </a:ln>
        <a:ln w="1905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7[[fn=Berlín]]</Template>
  <TotalTime>529</TotalTime>
  <Words>236</Words>
  <Application>Microsoft Office PowerPoint</Application>
  <PresentationFormat>Širokoúhlá obrazovka</PresentationFormat>
  <Paragraphs>51</Paragraphs>
  <Slides>10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0</vt:i4>
      </vt:variant>
    </vt:vector>
  </HeadingPairs>
  <TitlesOfParts>
    <vt:vector size="19" baseType="lpstr">
      <vt:lpstr>Arial</vt:lpstr>
      <vt:lpstr>Symbol</vt:lpstr>
      <vt:lpstr>Times New Roman</vt:lpstr>
      <vt:lpstr>Trebuchet MS</vt:lpstr>
      <vt:lpstr>Wingdings</vt:lpstr>
      <vt:lpstr>Berlín</vt:lpstr>
      <vt:lpstr>Berlín</vt:lpstr>
      <vt:lpstr>Berlín</vt:lpstr>
      <vt:lpstr>think-cell Slide</vt:lpstr>
      <vt:lpstr>Prezentace aplikace PowerPoint</vt:lpstr>
      <vt:lpstr>2021</vt:lpstr>
      <vt:lpstr>Zakladatelé / Founders</vt:lpstr>
      <vt:lpstr>2022</vt:lpstr>
      <vt:lpstr>Pracovní tým / Our team</vt:lpstr>
      <vt:lpstr>Setkávání členů / Meetings of members</vt:lpstr>
      <vt:lpstr>Prezentace aplikace PowerPoint</vt:lpstr>
      <vt:lpstr>2023</vt:lpstr>
      <vt:lpstr>Volný čas / Free time activities</vt:lpstr>
      <vt:lpstr>Thank  you  for  your 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subject/>
  <dc:creator>Petra Maderova</dc:creator>
  <dc:description/>
  <cp:lastModifiedBy>Petra Maderova</cp:lastModifiedBy>
  <cp:revision>3</cp:revision>
  <dcterms:created xsi:type="dcterms:W3CDTF">2023-05-12T07:43:31Z</dcterms:created>
  <dcterms:modified xsi:type="dcterms:W3CDTF">2023-05-26T07:38:58Z</dcterms:modified>
  <dc:language>cs-CZ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</vt:i4>
  </property>
  <property fmtid="{D5CDD505-2E9C-101B-9397-08002B2CF9AE}" pid="3" name="PresentationFormat">
    <vt:lpwstr>Širokoúhlá obrazovka</vt:lpwstr>
  </property>
  <property fmtid="{D5CDD505-2E9C-101B-9397-08002B2CF9AE}" pid="4" name="Slides">
    <vt:i4>10</vt:i4>
  </property>
</Properties>
</file>